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923" r:id="rId4"/>
  </p:sldMasterIdLst>
  <p:notesMasterIdLst>
    <p:notesMasterId r:id="rId14"/>
  </p:notesMasterIdLst>
  <p:handoutMasterIdLst>
    <p:handoutMasterId r:id="rId15"/>
  </p:handoutMasterIdLst>
  <p:sldIdLst>
    <p:sldId id="561" r:id="rId5"/>
    <p:sldId id="943" r:id="rId6"/>
    <p:sldId id="945" r:id="rId7"/>
    <p:sldId id="949" r:id="rId8"/>
    <p:sldId id="951" r:id="rId9"/>
    <p:sldId id="947" r:id="rId10"/>
    <p:sldId id="953" r:id="rId11"/>
    <p:sldId id="954" r:id="rId12"/>
    <p:sldId id="942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phan Kuhnert" initials="SK" lastIdx="2" clrIdx="0">
    <p:extLst>
      <p:ext uri="{19B8F6BF-5375-455C-9EA6-DF929625EA0E}">
        <p15:presenceInfo xmlns:p15="http://schemas.microsoft.com/office/powerpoint/2012/main" userId="S-1-5-21-2434534019-508715739-355924699-1122" providerId="AD"/>
      </p:ext>
    </p:extLst>
  </p:cmAuthor>
  <p:cmAuthor id="2" name="Stephan Kuhnert" initials="SK [2]" lastIdx="10" clrIdx="1">
    <p:extLst>
      <p:ext uri="{19B8F6BF-5375-455C-9EA6-DF929625EA0E}">
        <p15:presenceInfo xmlns:p15="http://schemas.microsoft.com/office/powerpoint/2012/main" userId="S::kuhnert@madeinoffice.com::68b29c7c-a342-4e65-b8db-49002b385efd" providerId="AD"/>
      </p:ext>
    </p:extLst>
  </p:cmAuthor>
  <p:cmAuthor id="3" name="Katharina Kampen" initials="KK" lastIdx="64" clrIdx="2">
    <p:extLst>
      <p:ext uri="{19B8F6BF-5375-455C-9EA6-DF929625EA0E}">
        <p15:presenceInfo xmlns:p15="http://schemas.microsoft.com/office/powerpoint/2012/main" userId="S::Kampen@madeinoffice.com::0cc2494d-6ba1-4d70-bf03-50bfa8934105" providerId="AD"/>
      </p:ext>
    </p:extLst>
  </p:cmAuthor>
  <p:cmAuthor id="4" name="Tim Türger" initials="TT" lastIdx="4" clrIdx="3">
    <p:extLst>
      <p:ext uri="{19B8F6BF-5375-455C-9EA6-DF929625EA0E}">
        <p15:presenceInfo xmlns:p15="http://schemas.microsoft.com/office/powerpoint/2012/main" userId="Tim Türger" providerId="None"/>
      </p:ext>
    </p:extLst>
  </p:cmAuthor>
  <p:cmAuthor id="5" name="Tim Türger" initials="TT [2]" lastIdx="1" clrIdx="4">
    <p:extLst>
      <p:ext uri="{19B8F6BF-5375-455C-9EA6-DF929625EA0E}">
        <p15:presenceInfo xmlns:p15="http://schemas.microsoft.com/office/powerpoint/2012/main" userId="S::tuerger@madeinoffice.com::e4f6df54-10ec-4fbc-82f7-5e3cfc1d1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0A0A0"/>
    <a:srgbClr val="F1F1F1"/>
    <a:srgbClr val="106EBE"/>
    <a:srgbClr val="C63C20"/>
    <a:srgbClr val="B7472A"/>
    <a:srgbClr val="323238"/>
    <a:srgbClr val="676767"/>
    <a:srgbClr val="E03C25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82E0A6-1D5E-4149-87E6-A48C7A9323BE}" v="20" dt="2020-05-02T06:29:47.679"/>
  </p1510:revLst>
</p1510:revInfo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3931" autoAdjust="0"/>
  </p:normalViewPr>
  <p:slideViewPr>
    <p:cSldViewPr snapToGrid="0">
      <p:cViewPr varScale="1">
        <p:scale>
          <a:sx n="63" d="100"/>
          <a:sy n="63" d="100"/>
        </p:scale>
        <p:origin x="75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721620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2" pos="2880" userDrawn="1">
          <p15:clr>
            <a:srgbClr val="F26B43"/>
          </p15:clr>
        </p15:guide>
        <p15:guide id="3" pos="5680" userDrawn="1">
          <p15:clr>
            <a:srgbClr val="F26B43"/>
          </p15:clr>
        </p15:guide>
        <p15:guide id="4" pos="19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46313" y="242888"/>
            <a:ext cx="4613275" cy="2595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46617" y="3131968"/>
            <a:ext cx="8208435" cy="34833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1039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85750" indent="-285750" algn="l" defTabSz="914400" rtl="0" eaLnBrk="1" latinLnBrk="0" hangingPunct="1">
      <a:buClr>
        <a:schemeClr val="tx2"/>
      </a:buClr>
      <a:buFont typeface="Wingdings" panose="05000000000000000000" pitchFamily="2" charset="2"/>
      <a:buChar char="§"/>
      <a:defRPr lang="de-DE" sz="1600" kern="1200" noProof="0" dirty="0">
        <a:solidFill>
          <a:schemeClr val="tx1"/>
        </a:solidFill>
        <a:latin typeface="Segoe UI Light" panose="020B0502040204020203" pitchFamily="34" charset="0"/>
        <a:ea typeface="+mn-ea"/>
        <a:cs typeface="Segoe UI Light" panose="020B0502040204020203" pitchFamily="34" charset="0"/>
      </a:defRPr>
    </a:lvl1pPr>
    <a:lvl2pPr marL="465750" indent="-285750" algn="l" defTabSz="914400" rtl="0" eaLnBrk="1" latinLnBrk="0" hangingPunct="1">
      <a:buClr>
        <a:schemeClr val="tx2"/>
      </a:buClr>
      <a:buFont typeface="Arial" panose="020B0604020202020204" pitchFamily="34" charset="0"/>
      <a:buChar char="–"/>
      <a:defRPr lang="de-DE" sz="1600" kern="1200" noProof="0" dirty="0">
        <a:solidFill>
          <a:schemeClr val="tx1"/>
        </a:solidFill>
        <a:latin typeface="Segoe UI Light" panose="020B0502040204020203" pitchFamily="34" charset="0"/>
        <a:ea typeface="+mn-ea"/>
        <a:cs typeface="Segoe UI Light" panose="020B0502040204020203" pitchFamily="34" charset="0"/>
      </a:defRPr>
    </a:lvl2pPr>
    <a:lvl3pPr marL="645750" indent="-28575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lang="de-DE" sz="1400" kern="1200" noProof="0" dirty="0">
        <a:solidFill>
          <a:schemeClr val="tx1"/>
        </a:solidFill>
        <a:latin typeface="Segoe UI Light" panose="020B0502040204020203" pitchFamily="34" charset="0"/>
        <a:ea typeface="+mn-ea"/>
        <a:cs typeface="Segoe UI Light" panose="020B0502040204020203" pitchFamily="34" charset="0"/>
      </a:defRPr>
    </a:lvl3pPr>
    <a:lvl4pPr marL="825750" indent="-285750" algn="l" defTabSz="914400" rtl="0" eaLnBrk="1" latinLnBrk="0" hangingPunct="1">
      <a:buClr>
        <a:schemeClr val="accent6"/>
      </a:buClr>
      <a:buFont typeface="Arial" panose="020B0604020202020204" pitchFamily="34" charset="0"/>
      <a:buChar char="–"/>
      <a:defRPr lang="de-DE" sz="1400" kern="1200" noProof="0" dirty="0">
        <a:solidFill>
          <a:schemeClr val="tx1"/>
        </a:solidFill>
        <a:latin typeface="Segoe UI Light" panose="020B0502040204020203" pitchFamily="34" charset="0"/>
        <a:ea typeface="+mn-ea"/>
        <a:cs typeface="Segoe UI Light" panose="020B0502040204020203" pitchFamily="34" charset="0"/>
      </a:defRPr>
    </a:lvl4pPr>
    <a:lvl5pPr marL="1005750" indent="-285750" algn="l" defTabSz="914400" rtl="0" eaLnBrk="1" latinLnBrk="0" hangingPunct="1">
      <a:buClr>
        <a:schemeClr val="accent6"/>
      </a:buClr>
      <a:buFont typeface="Symbol" panose="05050102010706020507" pitchFamily="18" charset="2"/>
      <a:buChar char="-"/>
      <a:defRPr lang="de-DE" sz="1400" kern="1200" noProof="0" dirty="0">
        <a:solidFill>
          <a:schemeClr val="tx1"/>
        </a:solidFill>
        <a:latin typeface="Segoe UI Light" panose="020B0502040204020203" pitchFamily="34" charset="0"/>
        <a:ea typeface="+mn-ea"/>
        <a:cs typeface="Segoe UI Light" panose="020B05020402040202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2880" userDrawn="1">
          <p15:clr>
            <a:srgbClr val="F26B43"/>
          </p15:clr>
        </p15:guide>
        <p15:guide id="3" pos="5452" userDrawn="1">
          <p15:clr>
            <a:srgbClr val="F26B43"/>
          </p15:clr>
        </p15:guide>
        <p15:guide id="4" pos="28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46313" y="242888"/>
            <a:ext cx="4613275" cy="25955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631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9112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339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7926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45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Picture placeholder">
            <a:extLst>
              <a:ext uri="{FF2B5EF4-FFF2-40B4-BE49-F238E27FC236}">
                <a16:creationId xmlns:a16="http://schemas.microsoft.com/office/drawing/2014/main" id="{51889213-BEAB-466C-A368-97CC503724D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7200"/>
            <a:ext cx="12192000" cy="6760800"/>
          </a:xfrm>
          <a:custGeom>
            <a:avLst/>
            <a:gdLst>
              <a:gd name="connsiteX0" fmla="*/ 1114141 w 12192000"/>
              <a:gd name="connsiteY0" fmla="*/ 543060 h 6760800"/>
              <a:gd name="connsiteX1" fmla="*/ 1143812 w 12192000"/>
              <a:gd name="connsiteY1" fmla="*/ 584579 h 6760800"/>
              <a:gd name="connsiteX2" fmla="*/ 1114141 w 12192000"/>
              <a:gd name="connsiteY2" fmla="*/ 624614 h 6760800"/>
              <a:gd name="connsiteX3" fmla="*/ 1084469 w 12192000"/>
              <a:gd name="connsiteY3" fmla="*/ 584579 h 6760800"/>
              <a:gd name="connsiteX4" fmla="*/ 1114141 w 12192000"/>
              <a:gd name="connsiteY4" fmla="*/ 543060 h 6760800"/>
              <a:gd name="connsiteX5" fmla="*/ 1324809 w 12192000"/>
              <a:gd name="connsiteY5" fmla="*/ 538613 h 6760800"/>
              <a:gd name="connsiteX6" fmla="*/ 1354481 w 12192000"/>
              <a:gd name="connsiteY6" fmla="*/ 584579 h 6760800"/>
              <a:gd name="connsiteX7" fmla="*/ 1324809 w 12192000"/>
              <a:gd name="connsiteY7" fmla="*/ 630545 h 6760800"/>
              <a:gd name="connsiteX8" fmla="*/ 1295138 w 12192000"/>
              <a:gd name="connsiteY8" fmla="*/ 584579 h 6760800"/>
              <a:gd name="connsiteX9" fmla="*/ 1324809 w 12192000"/>
              <a:gd name="connsiteY9" fmla="*/ 538613 h 6760800"/>
              <a:gd name="connsiteX10" fmla="*/ 1829226 w 12192000"/>
              <a:gd name="connsiteY10" fmla="*/ 529715 h 6760800"/>
              <a:gd name="connsiteX11" fmla="*/ 1861865 w 12192000"/>
              <a:gd name="connsiteY11" fmla="*/ 563819 h 6760800"/>
              <a:gd name="connsiteX12" fmla="*/ 1798071 w 12192000"/>
              <a:gd name="connsiteY12" fmla="*/ 563819 h 6760800"/>
              <a:gd name="connsiteX13" fmla="*/ 1829226 w 12192000"/>
              <a:gd name="connsiteY13" fmla="*/ 529715 h 6760800"/>
              <a:gd name="connsiteX14" fmla="*/ 562251 w 12192000"/>
              <a:gd name="connsiteY14" fmla="*/ 529715 h 6760800"/>
              <a:gd name="connsiteX15" fmla="*/ 594889 w 12192000"/>
              <a:gd name="connsiteY15" fmla="*/ 563819 h 6760800"/>
              <a:gd name="connsiteX16" fmla="*/ 531095 w 12192000"/>
              <a:gd name="connsiteY16" fmla="*/ 563819 h 6760800"/>
              <a:gd name="connsiteX17" fmla="*/ 562251 w 12192000"/>
              <a:gd name="connsiteY17" fmla="*/ 529715 h 6760800"/>
              <a:gd name="connsiteX18" fmla="*/ 1422726 w 12192000"/>
              <a:gd name="connsiteY18" fmla="*/ 494128 h 6760800"/>
              <a:gd name="connsiteX19" fmla="*/ 1480586 w 12192000"/>
              <a:gd name="connsiteY19" fmla="*/ 673545 h 6760800"/>
              <a:gd name="connsiteX20" fmla="*/ 1550314 w 12192000"/>
              <a:gd name="connsiteY20" fmla="*/ 673545 h 6760800"/>
              <a:gd name="connsiteX21" fmla="*/ 1577018 w 12192000"/>
              <a:gd name="connsiteY21" fmla="*/ 569751 h 6760800"/>
              <a:gd name="connsiteX22" fmla="*/ 1603723 w 12192000"/>
              <a:gd name="connsiteY22" fmla="*/ 673545 h 6760800"/>
              <a:gd name="connsiteX23" fmla="*/ 1676418 w 12192000"/>
              <a:gd name="connsiteY23" fmla="*/ 673545 h 6760800"/>
              <a:gd name="connsiteX24" fmla="*/ 1732794 w 12192000"/>
              <a:gd name="connsiteY24" fmla="*/ 494128 h 6760800"/>
              <a:gd name="connsiteX25" fmla="*/ 1664549 w 12192000"/>
              <a:gd name="connsiteY25" fmla="*/ 494128 h 6760800"/>
              <a:gd name="connsiteX26" fmla="*/ 1637845 w 12192000"/>
              <a:gd name="connsiteY26" fmla="*/ 603855 h 6760800"/>
              <a:gd name="connsiteX27" fmla="*/ 1609657 w 12192000"/>
              <a:gd name="connsiteY27" fmla="*/ 494128 h 6760800"/>
              <a:gd name="connsiteX28" fmla="*/ 1548830 w 12192000"/>
              <a:gd name="connsiteY28" fmla="*/ 494128 h 6760800"/>
              <a:gd name="connsiteX29" fmla="*/ 1520642 w 12192000"/>
              <a:gd name="connsiteY29" fmla="*/ 603855 h 6760800"/>
              <a:gd name="connsiteX30" fmla="*/ 1493938 w 12192000"/>
              <a:gd name="connsiteY30" fmla="*/ 494128 h 6760800"/>
              <a:gd name="connsiteX31" fmla="*/ 2072534 w 12192000"/>
              <a:gd name="connsiteY31" fmla="*/ 489680 h 6760800"/>
              <a:gd name="connsiteX32" fmla="*/ 2016157 w 12192000"/>
              <a:gd name="connsiteY32" fmla="*/ 526750 h 6760800"/>
              <a:gd name="connsiteX33" fmla="*/ 2016157 w 12192000"/>
              <a:gd name="connsiteY33" fmla="*/ 494128 h 6760800"/>
              <a:gd name="connsiteX34" fmla="*/ 1950880 w 12192000"/>
              <a:gd name="connsiteY34" fmla="*/ 494128 h 6760800"/>
              <a:gd name="connsiteX35" fmla="*/ 1950880 w 12192000"/>
              <a:gd name="connsiteY35" fmla="*/ 673545 h 6760800"/>
              <a:gd name="connsiteX36" fmla="*/ 2022092 w 12192000"/>
              <a:gd name="connsiteY36" fmla="*/ 673545 h 6760800"/>
              <a:gd name="connsiteX37" fmla="*/ 2022092 w 12192000"/>
              <a:gd name="connsiteY37" fmla="*/ 599406 h 6760800"/>
              <a:gd name="connsiteX38" fmla="*/ 2063632 w 12192000"/>
              <a:gd name="connsiteY38" fmla="*/ 559370 h 6760800"/>
              <a:gd name="connsiteX39" fmla="*/ 2078468 w 12192000"/>
              <a:gd name="connsiteY39" fmla="*/ 560854 h 6760800"/>
              <a:gd name="connsiteX40" fmla="*/ 2078468 w 12192000"/>
              <a:gd name="connsiteY40" fmla="*/ 489680 h 6760800"/>
              <a:gd name="connsiteX41" fmla="*/ 2072534 w 12192000"/>
              <a:gd name="connsiteY41" fmla="*/ 489680 h 6760800"/>
              <a:gd name="connsiteX42" fmla="*/ 807041 w 12192000"/>
              <a:gd name="connsiteY42" fmla="*/ 489680 h 6760800"/>
              <a:gd name="connsiteX43" fmla="*/ 772918 w 12192000"/>
              <a:gd name="connsiteY43" fmla="*/ 497094 h 6760800"/>
              <a:gd name="connsiteX44" fmla="*/ 746214 w 12192000"/>
              <a:gd name="connsiteY44" fmla="*/ 520818 h 6760800"/>
              <a:gd name="connsiteX45" fmla="*/ 746214 w 12192000"/>
              <a:gd name="connsiteY45" fmla="*/ 494128 h 6760800"/>
              <a:gd name="connsiteX46" fmla="*/ 682420 w 12192000"/>
              <a:gd name="connsiteY46" fmla="*/ 494128 h 6760800"/>
              <a:gd name="connsiteX47" fmla="*/ 682420 w 12192000"/>
              <a:gd name="connsiteY47" fmla="*/ 673545 h 6760800"/>
              <a:gd name="connsiteX48" fmla="*/ 750665 w 12192000"/>
              <a:gd name="connsiteY48" fmla="*/ 673545 h 6760800"/>
              <a:gd name="connsiteX49" fmla="*/ 750665 w 12192000"/>
              <a:gd name="connsiteY49" fmla="*/ 577164 h 6760800"/>
              <a:gd name="connsiteX50" fmla="*/ 756599 w 12192000"/>
              <a:gd name="connsiteY50" fmla="*/ 553440 h 6760800"/>
              <a:gd name="connsiteX51" fmla="*/ 774402 w 12192000"/>
              <a:gd name="connsiteY51" fmla="*/ 546026 h 6760800"/>
              <a:gd name="connsiteX52" fmla="*/ 793688 w 12192000"/>
              <a:gd name="connsiteY52" fmla="*/ 553440 h 6760800"/>
              <a:gd name="connsiteX53" fmla="*/ 799623 w 12192000"/>
              <a:gd name="connsiteY53" fmla="*/ 580129 h 6760800"/>
              <a:gd name="connsiteX54" fmla="*/ 799623 w 12192000"/>
              <a:gd name="connsiteY54" fmla="*/ 673545 h 6760800"/>
              <a:gd name="connsiteX55" fmla="*/ 869351 w 12192000"/>
              <a:gd name="connsiteY55" fmla="*/ 673545 h 6760800"/>
              <a:gd name="connsiteX56" fmla="*/ 869351 w 12192000"/>
              <a:gd name="connsiteY56" fmla="*/ 578647 h 6760800"/>
              <a:gd name="connsiteX57" fmla="*/ 875285 w 12192000"/>
              <a:gd name="connsiteY57" fmla="*/ 553440 h 6760800"/>
              <a:gd name="connsiteX58" fmla="*/ 894572 w 12192000"/>
              <a:gd name="connsiteY58" fmla="*/ 546026 h 6760800"/>
              <a:gd name="connsiteX59" fmla="*/ 912375 w 12192000"/>
              <a:gd name="connsiteY59" fmla="*/ 553440 h 6760800"/>
              <a:gd name="connsiteX60" fmla="*/ 918309 w 12192000"/>
              <a:gd name="connsiteY60" fmla="*/ 578647 h 6760800"/>
              <a:gd name="connsiteX61" fmla="*/ 918309 w 12192000"/>
              <a:gd name="connsiteY61" fmla="*/ 675029 h 6760800"/>
              <a:gd name="connsiteX62" fmla="*/ 988037 w 12192000"/>
              <a:gd name="connsiteY62" fmla="*/ 675029 h 6760800"/>
              <a:gd name="connsiteX63" fmla="*/ 988037 w 12192000"/>
              <a:gd name="connsiteY63" fmla="*/ 551957 h 6760800"/>
              <a:gd name="connsiteX64" fmla="*/ 970234 w 12192000"/>
              <a:gd name="connsiteY64" fmla="*/ 505990 h 6760800"/>
              <a:gd name="connsiteX65" fmla="*/ 921276 w 12192000"/>
              <a:gd name="connsiteY65" fmla="*/ 489680 h 6760800"/>
              <a:gd name="connsiteX66" fmla="*/ 887154 w 12192000"/>
              <a:gd name="connsiteY66" fmla="*/ 497094 h 6760800"/>
              <a:gd name="connsiteX67" fmla="*/ 858966 w 12192000"/>
              <a:gd name="connsiteY67" fmla="*/ 520818 h 6760800"/>
              <a:gd name="connsiteX68" fmla="*/ 836712 w 12192000"/>
              <a:gd name="connsiteY68" fmla="*/ 497094 h 6760800"/>
              <a:gd name="connsiteX69" fmla="*/ 807041 w 12192000"/>
              <a:gd name="connsiteY69" fmla="*/ 489680 h 6760800"/>
              <a:gd name="connsiteX70" fmla="*/ 1324809 w 12192000"/>
              <a:gd name="connsiteY70" fmla="*/ 488198 h 6760800"/>
              <a:gd name="connsiteX71" fmla="*/ 1223926 w 12192000"/>
              <a:gd name="connsiteY71" fmla="*/ 584579 h 6760800"/>
              <a:gd name="connsiteX72" fmla="*/ 1324809 w 12192000"/>
              <a:gd name="connsiteY72" fmla="*/ 680960 h 6760800"/>
              <a:gd name="connsiteX73" fmla="*/ 1425693 w 12192000"/>
              <a:gd name="connsiteY73" fmla="*/ 584579 h 6760800"/>
              <a:gd name="connsiteX74" fmla="*/ 1324809 w 12192000"/>
              <a:gd name="connsiteY74" fmla="*/ 488198 h 6760800"/>
              <a:gd name="connsiteX75" fmla="*/ 1136394 w 12192000"/>
              <a:gd name="connsiteY75" fmla="*/ 488198 h 6760800"/>
              <a:gd name="connsiteX76" fmla="*/ 1078535 w 12192000"/>
              <a:gd name="connsiteY76" fmla="*/ 516370 h 6760800"/>
              <a:gd name="connsiteX77" fmla="*/ 1078535 w 12192000"/>
              <a:gd name="connsiteY77" fmla="*/ 494128 h 6760800"/>
              <a:gd name="connsiteX78" fmla="*/ 1016225 w 12192000"/>
              <a:gd name="connsiteY78" fmla="*/ 494128 h 6760800"/>
              <a:gd name="connsiteX79" fmla="*/ 1016225 w 12192000"/>
              <a:gd name="connsiteY79" fmla="*/ 744719 h 6760800"/>
              <a:gd name="connsiteX80" fmla="*/ 1085953 w 12192000"/>
              <a:gd name="connsiteY80" fmla="*/ 744719 h 6760800"/>
              <a:gd name="connsiteX81" fmla="*/ 1085953 w 12192000"/>
              <a:gd name="connsiteY81" fmla="*/ 655753 h 6760800"/>
              <a:gd name="connsiteX82" fmla="*/ 1136394 w 12192000"/>
              <a:gd name="connsiteY82" fmla="*/ 677994 h 6760800"/>
              <a:gd name="connsiteX83" fmla="*/ 1215024 w 12192000"/>
              <a:gd name="connsiteY83" fmla="*/ 583096 h 6760800"/>
              <a:gd name="connsiteX84" fmla="*/ 1136394 w 12192000"/>
              <a:gd name="connsiteY84" fmla="*/ 488198 h 6760800"/>
              <a:gd name="connsiteX85" fmla="*/ 1829226 w 12192000"/>
              <a:gd name="connsiteY85" fmla="*/ 486714 h 6760800"/>
              <a:gd name="connsiteX86" fmla="*/ 1726859 w 12192000"/>
              <a:gd name="connsiteY86" fmla="*/ 584578 h 6760800"/>
              <a:gd name="connsiteX87" fmla="*/ 1827742 w 12192000"/>
              <a:gd name="connsiteY87" fmla="*/ 679476 h 6760800"/>
              <a:gd name="connsiteX88" fmla="*/ 1927142 w 12192000"/>
              <a:gd name="connsiteY88" fmla="*/ 620165 h 6760800"/>
              <a:gd name="connsiteX89" fmla="*/ 1927142 w 12192000"/>
              <a:gd name="connsiteY89" fmla="*/ 618683 h 6760800"/>
              <a:gd name="connsiteX90" fmla="*/ 1857414 w 12192000"/>
              <a:gd name="connsiteY90" fmla="*/ 618683 h 6760800"/>
              <a:gd name="connsiteX91" fmla="*/ 1830710 w 12192000"/>
              <a:gd name="connsiteY91" fmla="*/ 633510 h 6760800"/>
              <a:gd name="connsiteX92" fmla="*/ 1798071 w 12192000"/>
              <a:gd name="connsiteY92" fmla="*/ 597924 h 6760800"/>
              <a:gd name="connsiteX93" fmla="*/ 1931593 w 12192000"/>
              <a:gd name="connsiteY93" fmla="*/ 597924 h 6760800"/>
              <a:gd name="connsiteX94" fmla="*/ 1931593 w 12192000"/>
              <a:gd name="connsiteY94" fmla="*/ 593475 h 6760800"/>
              <a:gd name="connsiteX95" fmla="*/ 1829226 w 12192000"/>
              <a:gd name="connsiteY95" fmla="*/ 486714 h 6760800"/>
              <a:gd name="connsiteX96" fmla="*/ 560767 w 12192000"/>
              <a:gd name="connsiteY96" fmla="*/ 486714 h 6760800"/>
              <a:gd name="connsiteX97" fmla="*/ 458400 w 12192000"/>
              <a:gd name="connsiteY97" fmla="*/ 584578 h 6760800"/>
              <a:gd name="connsiteX98" fmla="*/ 559283 w 12192000"/>
              <a:gd name="connsiteY98" fmla="*/ 679476 h 6760800"/>
              <a:gd name="connsiteX99" fmla="*/ 658683 w 12192000"/>
              <a:gd name="connsiteY99" fmla="*/ 620165 h 6760800"/>
              <a:gd name="connsiteX100" fmla="*/ 658683 w 12192000"/>
              <a:gd name="connsiteY100" fmla="*/ 618683 h 6760800"/>
              <a:gd name="connsiteX101" fmla="*/ 588955 w 12192000"/>
              <a:gd name="connsiteY101" fmla="*/ 618683 h 6760800"/>
              <a:gd name="connsiteX102" fmla="*/ 562251 w 12192000"/>
              <a:gd name="connsiteY102" fmla="*/ 633510 h 6760800"/>
              <a:gd name="connsiteX103" fmla="*/ 529612 w 12192000"/>
              <a:gd name="connsiteY103" fmla="*/ 597924 h 6760800"/>
              <a:gd name="connsiteX104" fmla="*/ 663134 w 12192000"/>
              <a:gd name="connsiteY104" fmla="*/ 597924 h 6760800"/>
              <a:gd name="connsiteX105" fmla="*/ 663134 w 12192000"/>
              <a:gd name="connsiteY105" fmla="*/ 593475 h 6760800"/>
              <a:gd name="connsiteX106" fmla="*/ 560767 w 12192000"/>
              <a:gd name="connsiteY106" fmla="*/ 486714 h 6760800"/>
              <a:gd name="connsiteX107" fmla="*/ 2222374 w 12192000"/>
              <a:gd name="connsiteY107" fmla="*/ 428886 h 6760800"/>
              <a:gd name="connsiteX108" fmla="*/ 2216440 w 12192000"/>
              <a:gd name="connsiteY108" fmla="*/ 434817 h 6760800"/>
              <a:gd name="connsiteX109" fmla="*/ 2216440 w 12192000"/>
              <a:gd name="connsiteY109" fmla="*/ 535647 h 6760800"/>
              <a:gd name="connsiteX110" fmla="*/ 2222374 w 12192000"/>
              <a:gd name="connsiteY110" fmla="*/ 541578 h 6760800"/>
              <a:gd name="connsiteX111" fmla="*/ 2323258 w 12192000"/>
              <a:gd name="connsiteY111" fmla="*/ 541578 h 6760800"/>
              <a:gd name="connsiteX112" fmla="*/ 2329192 w 12192000"/>
              <a:gd name="connsiteY112" fmla="*/ 535647 h 6760800"/>
              <a:gd name="connsiteX113" fmla="*/ 2329192 w 12192000"/>
              <a:gd name="connsiteY113" fmla="*/ 434817 h 6760800"/>
              <a:gd name="connsiteX114" fmla="*/ 2323258 w 12192000"/>
              <a:gd name="connsiteY114" fmla="*/ 428886 h 6760800"/>
              <a:gd name="connsiteX115" fmla="*/ 2140777 w 12192000"/>
              <a:gd name="connsiteY115" fmla="*/ 428886 h 6760800"/>
              <a:gd name="connsiteX116" fmla="*/ 2134843 w 12192000"/>
              <a:gd name="connsiteY116" fmla="*/ 434817 h 6760800"/>
              <a:gd name="connsiteX117" fmla="*/ 2134843 w 12192000"/>
              <a:gd name="connsiteY117" fmla="*/ 479301 h 6760800"/>
              <a:gd name="connsiteX118" fmla="*/ 2140777 w 12192000"/>
              <a:gd name="connsiteY118" fmla="*/ 485232 h 6760800"/>
              <a:gd name="connsiteX119" fmla="*/ 2185285 w 12192000"/>
              <a:gd name="connsiteY119" fmla="*/ 485232 h 6760800"/>
              <a:gd name="connsiteX120" fmla="*/ 2191219 w 12192000"/>
              <a:gd name="connsiteY120" fmla="*/ 479301 h 6760800"/>
              <a:gd name="connsiteX121" fmla="*/ 2191219 w 12192000"/>
              <a:gd name="connsiteY121" fmla="*/ 434817 h 6760800"/>
              <a:gd name="connsiteX122" fmla="*/ 2185285 w 12192000"/>
              <a:gd name="connsiteY122" fmla="*/ 428886 h 6760800"/>
              <a:gd name="connsiteX123" fmla="*/ 2084401 w 12192000"/>
              <a:gd name="connsiteY123" fmla="*/ 292469 h 6760800"/>
              <a:gd name="connsiteX124" fmla="*/ 2078467 w 12192000"/>
              <a:gd name="connsiteY124" fmla="*/ 298400 h 6760800"/>
              <a:gd name="connsiteX125" fmla="*/ 2078467 w 12192000"/>
              <a:gd name="connsiteY125" fmla="*/ 399230 h 6760800"/>
              <a:gd name="connsiteX126" fmla="*/ 2084401 w 12192000"/>
              <a:gd name="connsiteY126" fmla="*/ 405161 h 6760800"/>
              <a:gd name="connsiteX127" fmla="*/ 2185285 w 12192000"/>
              <a:gd name="connsiteY127" fmla="*/ 405161 h 6760800"/>
              <a:gd name="connsiteX128" fmla="*/ 2191219 w 12192000"/>
              <a:gd name="connsiteY128" fmla="*/ 399230 h 6760800"/>
              <a:gd name="connsiteX129" fmla="*/ 2191219 w 12192000"/>
              <a:gd name="connsiteY129" fmla="*/ 298400 h 6760800"/>
              <a:gd name="connsiteX130" fmla="*/ 2185285 w 12192000"/>
              <a:gd name="connsiteY130" fmla="*/ 292469 h 6760800"/>
              <a:gd name="connsiteX131" fmla="*/ 2222375 w 12192000"/>
              <a:gd name="connsiteY131" fmla="*/ 221296 h 6760800"/>
              <a:gd name="connsiteX132" fmla="*/ 2214957 w 12192000"/>
              <a:gd name="connsiteY132" fmla="*/ 227227 h 6760800"/>
              <a:gd name="connsiteX133" fmla="*/ 2216441 w 12192000"/>
              <a:gd name="connsiteY133" fmla="*/ 399231 h 6760800"/>
              <a:gd name="connsiteX134" fmla="*/ 2222375 w 12192000"/>
              <a:gd name="connsiteY134" fmla="*/ 405162 h 6760800"/>
              <a:gd name="connsiteX135" fmla="*/ 2392986 w 12192000"/>
              <a:gd name="connsiteY135" fmla="*/ 405162 h 6760800"/>
              <a:gd name="connsiteX136" fmla="*/ 2398921 w 12192000"/>
              <a:gd name="connsiteY136" fmla="*/ 399231 h 6760800"/>
              <a:gd name="connsiteX137" fmla="*/ 2398921 w 12192000"/>
              <a:gd name="connsiteY137" fmla="*/ 313229 h 6760800"/>
              <a:gd name="connsiteX138" fmla="*/ 2306939 w 12192000"/>
              <a:gd name="connsiteY138" fmla="*/ 221296 h 6760800"/>
              <a:gd name="connsiteX139" fmla="*/ 0 w 12192000"/>
              <a:gd name="connsiteY139" fmla="*/ 0 h 6760800"/>
              <a:gd name="connsiteX140" fmla="*/ 12192000 w 12192000"/>
              <a:gd name="connsiteY140" fmla="*/ 0 h 6760800"/>
              <a:gd name="connsiteX141" fmla="*/ 12192000 w 12192000"/>
              <a:gd name="connsiteY141" fmla="*/ 27000 h 6760800"/>
              <a:gd name="connsiteX142" fmla="*/ 12192000 w 12192000"/>
              <a:gd name="connsiteY142" fmla="*/ 6760800 h 6760800"/>
              <a:gd name="connsiteX143" fmla="*/ 0 w 12192000"/>
              <a:gd name="connsiteY143" fmla="*/ 6760800 h 6760800"/>
              <a:gd name="connsiteX144" fmla="*/ 0 w 12192000"/>
              <a:gd name="connsiteY144" fmla="*/ 27000 h 67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12192000" h="6760800">
                <a:moveTo>
                  <a:pt x="1114141" y="543060"/>
                </a:moveTo>
                <a:cubicBezTo>
                  <a:pt x="1133427" y="543060"/>
                  <a:pt x="1142329" y="556406"/>
                  <a:pt x="1143812" y="584579"/>
                </a:cubicBezTo>
                <a:cubicBezTo>
                  <a:pt x="1143812" y="611269"/>
                  <a:pt x="1133427" y="624614"/>
                  <a:pt x="1114141" y="624614"/>
                </a:cubicBezTo>
                <a:cubicBezTo>
                  <a:pt x="1094854" y="624614"/>
                  <a:pt x="1084469" y="611269"/>
                  <a:pt x="1084469" y="584579"/>
                </a:cubicBezTo>
                <a:cubicBezTo>
                  <a:pt x="1084469" y="556406"/>
                  <a:pt x="1093371" y="543060"/>
                  <a:pt x="1114141" y="543060"/>
                </a:cubicBezTo>
                <a:close/>
                <a:moveTo>
                  <a:pt x="1324809" y="538613"/>
                </a:moveTo>
                <a:cubicBezTo>
                  <a:pt x="1347063" y="538613"/>
                  <a:pt x="1354481" y="553441"/>
                  <a:pt x="1354481" y="584579"/>
                </a:cubicBezTo>
                <a:cubicBezTo>
                  <a:pt x="1354481" y="615717"/>
                  <a:pt x="1347063" y="630545"/>
                  <a:pt x="1324809" y="630545"/>
                </a:cubicBezTo>
                <a:cubicBezTo>
                  <a:pt x="1304039" y="630545"/>
                  <a:pt x="1296621" y="615717"/>
                  <a:pt x="1295138" y="584579"/>
                </a:cubicBezTo>
                <a:cubicBezTo>
                  <a:pt x="1295138" y="553441"/>
                  <a:pt x="1302556" y="538613"/>
                  <a:pt x="1324809" y="538613"/>
                </a:cubicBezTo>
                <a:close/>
                <a:moveTo>
                  <a:pt x="1829226" y="529715"/>
                </a:moveTo>
                <a:cubicBezTo>
                  <a:pt x="1849996" y="529715"/>
                  <a:pt x="1860381" y="541577"/>
                  <a:pt x="1861865" y="563819"/>
                </a:cubicBezTo>
                <a:lnTo>
                  <a:pt x="1798071" y="563819"/>
                </a:lnTo>
                <a:cubicBezTo>
                  <a:pt x="1799554" y="541577"/>
                  <a:pt x="1809939" y="529715"/>
                  <a:pt x="1829226" y="529715"/>
                </a:cubicBezTo>
                <a:close/>
                <a:moveTo>
                  <a:pt x="562251" y="529715"/>
                </a:moveTo>
                <a:cubicBezTo>
                  <a:pt x="583021" y="529715"/>
                  <a:pt x="593406" y="541577"/>
                  <a:pt x="594889" y="563819"/>
                </a:cubicBezTo>
                <a:lnTo>
                  <a:pt x="531095" y="563819"/>
                </a:lnTo>
                <a:cubicBezTo>
                  <a:pt x="532579" y="541577"/>
                  <a:pt x="542964" y="529715"/>
                  <a:pt x="562251" y="529715"/>
                </a:cubicBezTo>
                <a:close/>
                <a:moveTo>
                  <a:pt x="1422726" y="494128"/>
                </a:moveTo>
                <a:lnTo>
                  <a:pt x="1480586" y="673545"/>
                </a:lnTo>
                <a:lnTo>
                  <a:pt x="1550314" y="673545"/>
                </a:lnTo>
                <a:lnTo>
                  <a:pt x="1577018" y="569751"/>
                </a:lnTo>
                <a:lnTo>
                  <a:pt x="1603723" y="673545"/>
                </a:lnTo>
                <a:lnTo>
                  <a:pt x="1676418" y="673545"/>
                </a:lnTo>
                <a:lnTo>
                  <a:pt x="1732794" y="494128"/>
                </a:lnTo>
                <a:lnTo>
                  <a:pt x="1664549" y="494128"/>
                </a:lnTo>
                <a:lnTo>
                  <a:pt x="1637845" y="603855"/>
                </a:lnTo>
                <a:lnTo>
                  <a:pt x="1609657" y="494128"/>
                </a:lnTo>
                <a:lnTo>
                  <a:pt x="1548830" y="494128"/>
                </a:lnTo>
                <a:lnTo>
                  <a:pt x="1520642" y="603855"/>
                </a:lnTo>
                <a:lnTo>
                  <a:pt x="1493938" y="494128"/>
                </a:lnTo>
                <a:close/>
                <a:moveTo>
                  <a:pt x="2072534" y="489680"/>
                </a:moveTo>
                <a:cubicBezTo>
                  <a:pt x="2042862" y="489680"/>
                  <a:pt x="2025059" y="500059"/>
                  <a:pt x="2016157" y="526750"/>
                </a:cubicBezTo>
                <a:lnTo>
                  <a:pt x="2016157" y="494128"/>
                </a:lnTo>
                <a:lnTo>
                  <a:pt x="1950880" y="494128"/>
                </a:lnTo>
                <a:lnTo>
                  <a:pt x="1950880" y="673545"/>
                </a:lnTo>
                <a:lnTo>
                  <a:pt x="2022092" y="673545"/>
                </a:lnTo>
                <a:lnTo>
                  <a:pt x="2022092" y="599406"/>
                </a:lnTo>
                <a:cubicBezTo>
                  <a:pt x="2022092" y="571233"/>
                  <a:pt x="2035444" y="559370"/>
                  <a:pt x="2063632" y="559370"/>
                </a:cubicBezTo>
                <a:cubicBezTo>
                  <a:pt x="2068083" y="559370"/>
                  <a:pt x="2072534" y="560854"/>
                  <a:pt x="2078468" y="560854"/>
                </a:cubicBezTo>
                <a:lnTo>
                  <a:pt x="2078468" y="489680"/>
                </a:lnTo>
                <a:cubicBezTo>
                  <a:pt x="2076984" y="489680"/>
                  <a:pt x="2074017" y="489680"/>
                  <a:pt x="2072534" y="489680"/>
                </a:cubicBezTo>
                <a:close/>
                <a:moveTo>
                  <a:pt x="807041" y="489680"/>
                </a:moveTo>
                <a:cubicBezTo>
                  <a:pt x="793688" y="489680"/>
                  <a:pt x="783303" y="492645"/>
                  <a:pt x="772918" y="497094"/>
                </a:cubicBezTo>
                <a:cubicBezTo>
                  <a:pt x="762533" y="503025"/>
                  <a:pt x="753632" y="510439"/>
                  <a:pt x="746214" y="520818"/>
                </a:cubicBezTo>
                <a:lnTo>
                  <a:pt x="746214" y="494128"/>
                </a:lnTo>
                <a:lnTo>
                  <a:pt x="682420" y="494128"/>
                </a:lnTo>
                <a:lnTo>
                  <a:pt x="682420" y="673545"/>
                </a:lnTo>
                <a:lnTo>
                  <a:pt x="750665" y="673545"/>
                </a:lnTo>
                <a:lnTo>
                  <a:pt x="750665" y="577164"/>
                </a:lnTo>
                <a:cubicBezTo>
                  <a:pt x="750665" y="566785"/>
                  <a:pt x="752148" y="559370"/>
                  <a:pt x="756599" y="553440"/>
                </a:cubicBezTo>
                <a:cubicBezTo>
                  <a:pt x="761050" y="548991"/>
                  <a:pt x="766984" y="546026"/>
                  <a:pt x="774402" y="546026"/>
                </a:cubicBezTo>
                <a:cubicBezTo>
                  <a:pt x="783303" y="546026"/>
                  <a:pt x="789238" y="547509"/>
                  <a:pt x="793688" y="553440"/>
                </a:cubicBezTo>
                <a:cubicBezTo>
                  <a:pt x="798139" y="559370"/>
                  <a:pt x="799623" y="568268"/>
                  <a:pt x="799623" y="580129"/>
                </a:cubicBezTo>
                <a:lnTo>
                  <a:pt x="799623" y="673545"/>
                </a:lnTo>
                <a:lnTo>
                  <a:pt x="869351" y="673545"/>
                </a:lnTo>
                <a:lnTo>
                  <a:pt x="869351" y="578647"/>
                </a:lnTo>
                <a:cubicBezTo>
                  <a:pt x="869351" y="566785"/>
                  <a:pt x="870834" y="559370"/>
                  <a:pt x="875285" y="553440"/>
                </a:cubicBezTo>
                <a:cubicBezTo>
                  <a:pt x="879736" y="548991"/>
                  <a:pt x="885670" y="546026"/>
                  <a:pt x="894572" y="546026"/>
                </a:cubicBezTo>
                <a:cubicBezTo>
                  <a:pt x="901990" y="546026"/>
                  <a:pt x="907924" y="548991"/>
                  <a:pt x="912375" y="553440"/>
                </a:cubicBezTo>
                <a:cubicBezTo>
                  <a:pt x="916825" y="559370"/>
                  <a:pt x="918309" y="566785"/>
                  <a:pt x="918309" y="578647"/>
                </a:cubicBezTo>
                <a:lnTo>
                  <a:pt x="918309" y="675029"/>
                </a:lnTo>
                <a:lnTo>
                  <a:pt x="988037" y="675029"/>
                </a:lnTo>
                <a:lnTo>
                  <a:pt x="988037" y="551957"/>
                </a:lnTo>
                <a:cubicBezTo>
                  <a:pt x="988037" y="532681"/>
                  <a:pt x="982103" y="516370"/>
                  <a:pt x="970234" y="505990"/>
                </a:cubicBezTo>
                <a:cubicBezTo>
                  <a:pt x="958366" y="495611"/>
                  <a:pt x="942046" y="489680"/>
                  <a:pt x="921276" y="489680"/>
                </a:cubicBezTo>
                <a:cubicBezTo>
                  <a:pt x="909408" y="489680"/>
                  <a:pt x="897539" y="492645"/>
                  <a:pt x="887154" y="497094"/>
                </a:cubicBezTo>
                <a:cubicBezTo>
                  <a:pt x="876769" y="501542"/>
                  <a:pt x="867867" y="510439"/>
                  <a:pt x="858966" y="520818"/>
                </a:cubicBezTo>
                <a:cubicBezTo>
                  <a:pt x="853032" y="510439"/>
                  <a:pt x="845614" y="501542"/>
                  <a:pt x="836712" y="497094"/>
                </a:cubicBezTo>
                <a:cubicBezTo>
                  <a:pt x="829294" y="492645"/>
                  <a:pt x="818909" y="489680"/>
                  <a:pt x="807041" y="489680"/>
                </a:cubicBezTo>
                <a:close/>
                <a:moveTo>
                  <a:pt x="1324809" y="488198"/>
                </a:moveTo>
                <a:cubicBezTo>
                  <a:pt x="1262499" y="488198"/>
                  <a:pt x="1223926" y="523785"/>
                  <a:pt x="1223926" y="584579"/>
                </a:cubicBezTo>
                <a:cubicBezTo>
                  <a:pt x="1223926" y="643890"/>
                  <a:pt x="1261015" y="680960"/>
                  <a:pt x="1324809" y="680960"/>
                </a:cubicBezTo>
                <a:cubicBezTo>
                  <a:pt x="1387120" y="680960"/>
                  <a:pt x="1425693" y="643890"/>
                  <a:pt x="1425693" y="584579"/>
                </a:cubicBezTo>
                <a:cubicBezTo>
                  <a:pt x="1425693" y="525268"/>
                  <a:pt x="1388603" y="488198"/>
                  <a:pt x="1324809" y="488198"/>
                </a:cubicBezTo>
                <a:close/>
                <a:moveTo>
                  <a:pt x="1136394" y="488198"/>
                </a:moveTo>
                <a:cubicBezTo>
                  <a:pt x="1111174" y="488198"/>
                  <a:pt x="1093371" y="497094"/>
                  <a:pt x="1078535" y="516370"/>
                </a:cubicBezTo>
                <a:lnTo>
                  <a:pt x="1078535" y="494128"/>
                </a:lnTo>
                <a:lnTo>
                  <a:pt x="1016225" y="494128"/>
                </a:lnTo>
                <a:lnTo>
                  <a:pt x="1016225" y="744719"/>
                </a:lnTo>
                <a:lnTo>
                  <a:pt x="1085953" y="744719"/>
                </a:lnTo>
                <a:lnTo>
                  <a:pt x="1085953" y="655753"/>
                </a:lnTo>
                <a:cubicBezTo>
                  <a:pt x="1097821" y="670580"/>
                  <a:pt x="1114141" y="677994"/>
                  <a:pt x="1136394" y="677994"/>
                </a:cubicBezTo>
                <a:cubicBezTo>
                  <a:pt x="1183869" y="677994"/>
                  <a:pt x="1215024" y="640925"/>
                  <a:pt x="1215024" y="583096"/>
                </a:cubicBezTo>
                <a:cubicBezTo>
                  <a:pt x="1215024" y="525268"/>
                  <a:pt x="1182385" y="488198"/>
                  <a:pt x="1136394" y="488198"/>
                </a:cubicBezTo>
                <a:close/>
                <a:moveTo>
                  <a:pt x="1829226" y="486714"/>
                </a:moveTo>
                <a:cubicBezTo>
                  <a:pt x="1765432" y="486714"/>
                  <a:pt x="1726859" y="523785"/>
                  <a:pt x="1726859" y="584578"/>
                </a:cubicBezTo>
                <a:cubicBezTo>
                  <a:pt x="1726859" y="642407"/>
                  <a:pt x="1765432" y="679476"/>
                  <a:pt x="1827742" y="679476"/>
                </a:cubicBezTo>
                <a:cubicBezTo>
                  <a:pt x="1884118" y="679476"/>
                  <a:pt x="1916757" y="658717"/>
                  <a:pt x="1927142" y="620165"/>
                </a:cubicBezTo>
                <a:lnTo>
                  <a:pt x="1927142" y="618683"/>
                </a:lnTo>
                <a:lnTo>
                  <a:pt x="1857414" y="618683"/>
                </a:lnTo>
                <a:cubicBezTo>
                  <a:pt x="1854447" y="627579"/>
                  <a:pt x="1844062" y="633510"/>
                  <a:pt x="1830710" y="633510"/>
                </a:cubicBezTo>
                <a:cubicBezTo>
                  <a:pt x="1809939" y="633510"/>
                  <a:pt x="1798071" y="620165"/>
                  <a:pt x="1798071" y="597924"/>
                </a:cubicBezTo>
                <a:lnTo>
                  <a:pt x="1931593" y="597924"/>
                </a:lnTo>
                <a:cubicBezTo>
                  <a:pt x="1931593" y="596441"/>
                  <a:pt x="1931593" y="594957"/>
                  <a:pt x="1931593" y="593475"/>
                </a:cubicBezTo>
                <a:cubicBezTo>
                  <a:pt x="1931593" y="526750"/>
                  <a:pt x="1893020" y="486714"/>
                  <a:pt x="1829226" y="486714"/>
                </a:cubicBezTo>
                <a:close/>
                <a:moveTo>
                  <a:pt x="560767" y="486714"/>
                </a:moveTo>
                <a:cubicBezTo>
                  <a:pt x="496973" y="486714"/>
                  <a:pt x="458400" y="523785"/>
                  <a:pt x="458400" y="584578"/>
                </a:cubicBezTo>
                <a:cubicBezTo>
                  <a:pt x="458400" y="642407"/>
                  <a:pt x="496973" y="679476"/>
                  <a:pt x="559283" y="679476"/>
                </a:cubicBezTo>
                <a:cubicBezTo>
                  <a:pt x="615659" y="679476"/>
                  <a:pt x="648298" y="658717"/>
                  <a:pt x="658683" y="620165"/>
                </a:cubicBezTo>
                <a:lnTo>
                  <a:pt x="658683" y="618683"/>
                </a:lnTo>
                <a:lnTo>
                  <a:pt x="588955" y="618683"/>
                </a:lnTo>
                <a:cubicBezTo>
                  <a:pt x="585988" y="627579"/>
                  <a:pt x="575603" y="633510"/>
                  <a:pt x="562251" y="633510"/>
                </a:cubicBezTo>
                <a:cubicBezTo>
                  <a:pt x="541480" y="633510"/>
                  <a:pt x="529612" y="620165"/>
                  <a:pt x="529612" y="597924"/>
                </a:cubicBezTo>
                <a:lnTo>
                  <a:pt x="663134" y="597924"/>
                </a:lnTo>
                <a:cubicBezTo>
                  <a:pt x="663134" y="596441"/>
                  <a:pt x="663134" y="594957"/>
                  <a:pt x="663134" y="593475"/>
                </a:cubicBezTo>
                <a:cubicBezTo>
                  <a:pt x="663134" y="526750"/>
                  <a:pt x="624561" y="486714"/>
                  <a:pt x="560767" y="486714"/>
                </a:cubicBezTo>
                <a:close/>
                <a:moveTo>
                  <a:pt x="2222374" y="428886"/>
                </a:moveTo>
                <a:lnTo>
                  <a:pt x="2216440" y="434817"/>
                </a:lnTo>
                <a:lnTo>
                  <a:pt x="2216440" y="535647"/>
                </a:lnTo>
                <a:lnTo>
                  <a:pt x="2222374" y="541578"/>
                </a:lnTo>
                <a:lnTo>
                  <a:pt x="2323258" y="541578"/>
                </a:lnTo>
                <a:lnTo>
                  <a:pt x="2329192" y="535647"/>
                </a:lnTo>
                <a:lnTo>
                  <a:pt x="2329192" y="434817"/>
                </a:lnTo>
                <a:lnTo>
                  <a:pt x="2323258" y="428886"/>
                </a:lnTo>
                <a:close/>
                <a:moveTo>
                  <a:pt x="2140777" y="428886"/>
                </a:moveTo>
                <a:lnTo>
                  <a:pt x="2134843" y="434817"/>
                </a:lnTo>
                <a:lnTo>
                  <a:pt x="2134843" y="479301"/>
                </a:lnTo>
                <a:lnTo>
                  <a:pt x="2140777" y="485232"/>
                </a:lnTo>
                <a:lnTo>
                  <a:pt x="2185285" y="485232"/>
                </a:lnTo>
                <a:lnTo>
                  <a:pt x="2191219" y="479301"/>
                </a:lnTo>
                <a:lnTo>
                  <a:pt x="2191219" y="434817"/>
                </a:lnTo>
                <a:lnTo>
                  <a:pt x="2185285" y="428886"/>
                </a:lnTo>
                <a:close/>
                <a:moveTo>
                  <a:pt x="2084401" y="292469"/>
                </a:moveTo>
                <a:lnTo>
                  <a:pt x="2078467" y="298400"/>
                </a:lnTo>
                <a:lnTo>
                  <a:pt x="2078467" y="399230"/>
                </a:lnTo>
                <a:lnTo>
                  <a:pt x="2084401" y="405161"/>
                </a:lnTo>
                <a:lnTo>
                  <a:pt x="2185285" y="405161"/>
                </a:lnTo>
                <a:lnTo>
                  <a:pt x="2191219" y="399230"/>
                </a:lnTo>
                <a:lnTo>
                  <a:pt x="2191219" y="298400"/>
                </a:lnTo>
                <a:lnTo>
                  <a:pt x="2185285" y="292469"/>
                </a:lnTo>
                <a:close/>
                <a:moveTo>
                  <a:pt x="2222375" y="221296"/>
                </a:moveTo>
                <a:lnTo>
                  <a:pt x="2214957" y="227227"/>
                </a:lnTo>
                <a:lnTo>
                  <a:pt x="2216441" y="399231"/>
                </a:lnTo>
                <a:lnTo>
                  <a:pt x="2222375" y="405162"/>
                </a:lnTo>
                <a:lnTo>
                  <a:pt x="2392986" y="405162"/>
                </a:lnTo>
                <a:lnTo>
                  <a:pt x="2398921" y="399231"/>
                </a:lnTo>
                <a:lnTo>
                  <a:pt x="2398921" y="313229"/>
                </a:lnTo>
                <a:lnTo>
                  <a:pt x="2306939" y="22129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7000"/>
                </a:lnTo>
                <a:lnTo>
                  <a:pt x="12192000" y="6760800"/>
                </a:lnTo>
                <a:lnTo>
                  <a:pt x="0" y="6760800"/>
                </a:lnTo>
                <a:lnTo>
                  <a:pt x="0" y="27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3276000" rtlCol="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de-DE" sz="2000" i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ctr">
              <a:buNone/>
            </a:pPr>
            <a:r>
              <a:rPr lang="de-DE" noProof="0" dirty="0" err="1"/>
              <a:t>Please</a:t>
            </a:r>
            <a:r>
              <a:rPr lang="de-DE" noProof="0" dirty="0"/>
              <a:t>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r>
              <a:rPr lang="de-DE" noProof="0" dirty="0"/>
              <a:t> and </a:t>
            </a:r>
            <a:r>
              <a:rPr lang="de-DE" noProof="0" dirty="0" err="1"/>
              <a:t>insert</a:t>
            </a:r>
            <a:r>
              <a:rPr lang="de-DE" noProof="0" dirty="0"/>
              <a:t> a </a:t>
            </a:r>
            <a:r>
              <a:rPr lang="de-DE" noProof="0" dirty="0" err="1"/>
              <a:t>picture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 err="1"/>
              <a:t>from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empower </a:t>
            </a:r>
            <a:r>
              <a:rPr lang="de-DE" noProof="0" dirty="0" err="1"/>
              <a:t>image</a:t>
            </a:r>
            <a:r>
              <a:rPr lang="de-DE" noProof="0" dirty="0"/>
              <a:t> </a:t>
            </a:r>
            <a:r>
              <a:rPr lang="de-DE" noProof="0" dirty="0" err="1"/>
              <a:t>folder</a:t>
            </a:r>
            <a:r>
              <a:rPr lang="de-DE" noProof="0" dirty="0"/>
              <a:t> „Cover Images“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3579" y="2359025"/>
            <a:ext cx="8164842" cy="1944775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97200" rIns="0" bIns="97200" rtlCol="0" anchor="b" anchorCtr="0">
            <a:noAutofit/>
          </a:bodyPr>
          <a:lstStyle>
            <a:lvl1pPr algn="ctr">
              <a:lnSpc>
                <a:spcPts val="7000"/>
              </a:lnSpc>
              <a:defRPr lang="de-DE" sz="7200" b="0" i="0" spc="-300" baseline="0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A1564E3-F5C6-4926-B102-8F6E6F83E8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13600" y="4303800"/>
            <a:ext cx="8165450" cy="971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defRPr lang="de-DE" sz="2400" b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72000">
              <a:lnSpc>
                <a:spcPct val="100000"/>
              </a:lnSpc>
              <a:buClr>
                <a:schemeClr val="tx2"/>
              </a:buClr>
            </a:pPr>
            <a:r>
              <a:rPr lang="de-DE"/>
              <a:t>Master-Untertitelformat bearbeiten</a:t>
            </a:r>
          </a:p>
        </p:txBody>
      </p:sp>
      <p:sp>
        <p:nvSpPr>
          <p:cNvPr id="133" name="Datumsplatzhalter 132" hidden="1">
            <a:extLst>
              <a:ext uri="{FF2B5EF4-FFF2-40B4-BE49-F238E27FC236}">
                <a16:creationId xmlns:a16="http://schemas.microsoft.com/office/drawing/2014/main" id="{CF2460D3-1367-4056-BB37-5940795BD6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4" name="Fußzeilenplatzhalter 133" hidden="1">
            <a:extLst>
              <a:ext uri="{FF2B5EF4-FFF2-40B4-BE49-F238E27FC236}">
                <a16:creationId xmlns:a16="http://schemas.microsoft.com/office/drawing/2014/main" id="{2F93CA02-0090-4D10-9DCE-B182CCE0AF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5" name="Foliennummernplatzhalter 134" hidden="1">
            <a:extLst>
              <a:ext uri="{FF2B5EF4-FFF2-40B4-BE49-F238E27FC236}">
                <a16:creationId xmlns:a16="http://schemas.microsoft.com/office/drawing/2014/main" id="{CB30FC07-0889-4C45-8353-1A92537EB0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95CC360-39D1-4D3A-B6C9-5AECCFD4809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Master field_Confidentiality EN" hidden="1">
            <a:extLst>
              <a:ext uri="{FF2B5EF4-FFF2-40B4-BE49-F238E27FC236}">
                <a16:creationId xmlns:a16="http://schemas.microsoft.com/office/drawing/2014/main" id="{3FC74506-C830-4435-A307-6BE92497A7A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 b="1"/>
          </a:p>
        </p:txBody>
      </p:sp>
      <p:sp>
        <p:nvSpPr>
          <p:cNvPr id="4" name="Masterfeld_Vertraulichkeit DE" hidden="1">
            <a:extLst>
              <a:ext uri="{FF2B5EF4-FFF2-40B4-BE49-F238E27FC236}">
                <a16:creationId xmlns:a16="http://schemas.microsoft.com/office/drawing/2014/main" id="{8E2716C5-029D-4FAE-B39A-DF13611ADF81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91451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1268">
          <p15:clr>
            <a:srgbClr val="547EBF"/>
          </p15:clr>
        </p15:guide>
        <p15:guide id="2" pos="6412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orient="horz" pos="3323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Content with&#10;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4DF720-FC23-45C2-8016-3D431C0FE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7387200" cy="58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EF6A0E3D-0F3F-48A4-8CB4-3ED3260C86C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8788" y="1387475"/>
            <a:ext cx="7386812" cy="5054600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D8C158F4-8406-4C77-8504-FFCC13CA1F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34400" y="97199"/>
            <a:ext cx="39576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7BD5A3-FD1B-4133-B010-6FFA76FD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22A3E-E60C-4747-89A1-27BFCBA55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90479B-AEF2-40F1-BB30-D531AD0F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2C74372E-B21D-4B8A-81C0-EC3BD137CFA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22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5187">
          <p15:clr>
            <a:srgbClr val="547EBF"/>
          </p15:clr>
        </p15:guide>
        <p15:guide id="2" pos="4942">
          <p15:clr>
            <a:srgbClr val="547EBF"/>
          </p15:clr>
        </p15:guide>
        <p15:guide id="3" pos="289">
          <p15:clr>
            <a:srgbClr val="547EBF"/>
          </p15:clr>
        </p15:guide>
        <p15:guide id="4" orient="horz" pos="201">
          <p15:clr>
            <a:srgbClr val="547EBF"/>
          </p15:clr>
        </p15:guide>
        <p15:guide id="6" orient="horz" pos="874">
          <p15:clr>
            <a:srgbClr val="547EBF"/>
          </p15:clr>
        </p15:guide>
        <p15:guide id="7" orient="horz" pos="4058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Statement&#10;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8DA59A2-B45F-4067-8FD9-D1BEC70D1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0"/>
            <a:ext cx="3499200" cy="2624399"/>
          </a:xfrm>
        </p:spPr>
        <p:txBody>
          <a:bodyPr anchor="b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27B26DE4-3790-4A19-B48A-06E2CC45D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8788" y="2943225"/>
            <a:ext cx="3498850" cy="3498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3175ECCA-4759-4237-AFD0-F9138BA220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6400" y="97199"/>
            <a:ext cx="78456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7E6C92-A38F-4452-8068-731F8799A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DC8248-A082-44C8-9946-CC6B843C3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3D7BCA5-D3B8-4083-9E26-AF818DE75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88E2495E-5DB4-48B7-B13C-C23C0FB3B50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318600"/>
            <a:ext cx="11760200" cy="6539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69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pos="2738">
          <p15:clr>
            <a:srgbClr val="547EBF"/>
          </p15:clr>
        </p15:guide>
        <p15:guide id="4" pos="289">
          <p15:clr>
            <a:srgbClr val="547EBF"/>
          </p15:clr>
        </p15:guide>
        <p15:guide id="5" orient="horz" pos="4058">
          <p15:clr>
            <a:srgbClr val="547EBF"/>
          </p15:clr>
        </p15:guide>
        <p15:guide id="7" orient="horz" pos="20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&#10;with 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center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6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Headline right">
            <a:extLst>
              <a:ext uri="{FF2B5EF4-FFF2-40B4-BE49-F238E27FC236}">
                <a16:creationId xmlns:a16="http://schemas.microsoft.com/office/drawing/2014/main" id="{E7920CA0-579D-47FA-9A0A-7A5B020DE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34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center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46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F9AF96E0-53C6-482E-95AD-957DBCFA5C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34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62DE87C-124A-49FC-91EF-74CB75A3C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97197"/>
            <a:ext cx="12192000" cy="3247581"/>
          </a:xfrm>
          <a:pattFill prst="pct50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de-DE"/>
              <a:t> 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D947069-9BD4-4079-8CEA-F1140652D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7065" y="901800"/>
            <a:ext cx="9608457" cy="2041425"/>
          </a:xfrm>
          <a:custGeom>
            <a:avLst/>
            <a:gdLst>
              <a:gd name="connsiteX0" fmla="*/ 0 w 9608457"/>
              <a:gd name="connsiteY0" fmla="*/ 0 h 2041425"/>
              <a:gd name="connsiteX1" fmla="*/ 9608457 w 9608457"/>
              <a:gd name="connsiteY1" fmla="*/ 0 h 2041425"/>
              <a:gd name="connsiteX2" fmla="*/ 9608457 w 9608457"/>
              <a:gd name="connsiteY2" fmla="*/ 2041425 h 2041425"/>
              <a:gd name="connsiteX3" fmla="*/ 0 w 9608457"/>
              <a:gd name="connsiteY3" fmla="*/ 2041425 h 204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08457" h="2041425">
                <a:moveTo>
                  <a:pt x="0" y="0"/>
                </a:moveTo>
                <a:lnTo>
                  <a:pt x="9608457" y="0"/>
                </a:lnTo>
                <a:lnTo>
                  <a:pt x="9608457" y="2041425"/>
                </a:lnTo>
                <a:lnTo>
                  <a:pt x="0" y="20414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4800" b="0" i="0" kern="1200" spc="-100" baseline="0" dirty="0">
                <a:solidFill>
                  <a:schemeClr val="bg1"/>
                </a:solidFill>
                <a:latin typeface="Segoe UI Semibold" panose="020B0502040204020203" pitchFamily="34" charset="0"/>
                <a:ea typeface="+mj-ea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7" name="Layoutschutz" hidden="1">
            <a:extLst>
              <a:ext uri="{FF2B5EF4-FFF2-40B4-BE49-F238E27FC236}">
                <a16:creationId xmlns:a16="http://schemas.microsoft.com/office/drawing/2014/main" id="{8463CA59-8900-4388-B5F3-A974786C6D0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1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orient="horz" pos="2099">
          <p15:clr>
            <a:srgbClr val="547EBF"/>
          </p15:clr>
        </p15:guide>
        <p15:guide id="5" pos="2738">
          <p15:clr>
            <a:srgbClr val="547EBF"/>
          </p15:clr>
        </p15:guide>
        <p15:guide id="6" pos="289">
          <p15:clr>
            <a:srgbClr val="547EBF"/>
          </p15:clr>
        </p15:guide>
        <p15:guide id="7" pos="4942">
          <p15:clr>
            <a:srgbClr val="547EBF"/>
          </p15:clr>
        </p15:guide>
        <p15:guide id="8" pos="5187">
          <p15:clr>
            <a:srgbClr val="547EBF"/>
          </p15:clr>
        </p15:guide>
        <p15:guide id="9" pos="7391">
          <p15:clr>
            <a:srgbClr val="547EBF"/>
          </p15:clr>
        </p15:guide>
        <p15:guide id="10" orient="horz" pos="2282">
          <p15:clr>
            <a:srgbClr val="547EBF"/>
          </p15:clr>
        </p15:guide>
        <p15:guide id="11" orient="horz" pos="1364">
          <p15:clr>
            <a:srgbClr val="A4A3A4"/>
          </p15:clr>
        </p15:guide>
        <p15:guide id="12" pos="1391">
          <p15:clr>
            <a:srgbClr val="A4A3A4"/>
          </p15:clr>
        </p15:guide>
        <p15:guide id="13" pos="3840">
          <p15:clr>
            <a:srgbClr val="A4A3A4"/>
          </p15:clr>
        </p15:guide>
        <p15:guide id="14" pos="6289">
          <p15:clr>
            <a:srgbClr val="A4A3A4"/>
          </p15:clr>
        </p15:guide>
        <p15:guide id="15" orient="horz" pos="874">
          <p15:clr>
            <a:srgbClr val="547EBF"/>
          </p15:clr>
        </p15:guide>
        <p15:guide id="16" orient="horz" pos="4058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199"/>
            <a:ext cx="121920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87E576D-4985-4B1A-9F9A-7E8D864B0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8601"/>
            <a:ext cx="9984000" cy="583200"/>
          </a:xfrm>
          <a:solidFill>
            <a:srgbClr val="FFFFFF">
              <a:alpha val="80000"/>
            </a:srgbClr>
          </a:solidFill>
        </p:spPr>
        <p:txBody>
          <a:bodyPr vert="horz" lIns="457200" tIns="0" rIns="97200" bIns="97200" rtlCol="0" anchor="t" anchorCtr="0">
            <a:noAutofit/>
          </a:bodyPr>
          <a:lstStyle>
            <a:lvl1pPr>
              <a:defRPr lang="en-US" sz="3600" dirty="0"/>
            </a:lvl1pPr>
          </a:lstStyle>
          <a:p>
            <a:pPr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316513-3054-476F-B5C4-D6CFC9A98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E6828F-D2D6-4849-9C87-46464C75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440484-8DA9-4382-848F-71BF1C062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00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199"/>
            <a:ext cx="12192000" cy="6760799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Text placeholder top">
            <a:extLst>
              <a:ext uri="{FF2B5EF4-FFF2-40B4-BE49-F238E27FC236}">
                <a16:creationId xmlns:a16="http://schemas.microsoft.com/office/drawing/2014/main" id="{8C9608EC-C812-41A8-AA89-8985667C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3914775"/>
            <a:ext cx="9020675" cy="738664"/>
          </a:xfrm>
          <a:solidFill>
            <a:schemeClr val="bg1">
              <a:alpha val="80000"/>
            </a:schemeClr>
          </a:solidFill>
        </p:spPr>
        <p:txBody>
          <a:bodyPr vert="horz" wrap="none" lIns="457200" tIns="0" rIns="457200" bIns="0" rtlCol="0" anchor="t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de-DE" sz="4800" b="1" i="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 placeholder bottom">
            <a:extLst>
              <a:ext uri="{FF2B5EF4-FFF2-40B4-BE49-F238E27FC236}">
                <a16:creationId xmlns:a16="http://schemas.microsoft.com/office/drawing/2014/main" id="{869FD9BB-6B12-40E3-9C64-92EC1F17B1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4886326"/>
            <a:ext cx="9020675" cy="738664"/>
          </a:xfrm>
          <a:solidFill>
            <a:schemeClr val="bg1">
              <a:alpha val="80000"/>
            </a:schemeClr>
          </a:solidFill>
        </p:spPr>
        <p:txBody>
          <a:bodyPr vert="horz" wrap="none" lIns="457200" tIns="0" rIns="457200" bIns="0" rtlCol="0" anchor="t">
            <a:spAutoFit/>
          </a:bodyPr>
          <a:lstStyle>
            <a:lvl1pPr>
              <a:spcAft>
                <a:spcPts val="0"/>
              </a:spcAft>
              <a:defRPr lang="de-DE" sz="4800" b="1" i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316513-3054-476F-B5C4-D6CFC9A98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E6828F-D2D6-4849-9C87-46464C75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440484-8DA9-4382-848F-71BF1C062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38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466">
          <p15:clr>
            <a:srgbClr val="547EBF"/>
          </p15:clr>
        </p15:guide>
        <p15:guide id="4" orient="horz" pos="3078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&#10;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A7ADD926-F1E6-4465-8EDD-314341AB131D}"/>
              </a:ext>
            </a:extLst>
          </p:cNvPr>
          <p:cNvSpPr>
            <a:spLocks/>
          </p:cNvSpPr>
          <p:nvPr userDrawn="1"/>
        </p:nvSpPr>
        <p:spPr>
          <a:xfrm>
            <a:off x="458401" y="1387800"/>
            <a:ext cx="11275200" cy="505440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prstClr val="black">
                <a:alpha val="25000"/>
              </a:prstClr>
            </a:outerShdw>
          </a:effectLst>
        </p:spPr>
        <p:txBody>
          <a:bodyPr vert="horz" lIns="360000" tIns="360000" rIns="360000" bIns="360000" rtlCol="0">
            <a:noAutofit/>
          </a:bodyPr>
          <a:lstStyle/>
          <a:p>
            <a:pPr lvl="0" indent="0">
              <a:lnSpc>
                <a:spcPct val="120000"/>
              </a:lnSpc>
              <a:spcBef>
                <a:spcPts val="12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None/>
            </a:pPr>
            <a:endParaRPr lang="en-US" sz="2400" b="1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2770FE5-7639-45B7-BE4F-32E8CC074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Headline">
            <a:extLst>
              <a:ext uri="{FF2B5EF4-FFF2-40B4-BE49-F238E27FC236}">
                <a16:creationId xmlns:a16="http://schemas.microsoft.com/office/drawing/2014/main" id="{EE1EC685-53EC-42AA-A2B2-BBBC73012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7725" y="2359800"/>
            <a:ext cx="4081463" cy="583200"/>
          </a:xfrm>
        </p:spPr>
        <p:txBody>
          <a:bodyPr wrap="none"/>
          <a:lstStyle>
            <a:lvl1pPr>
              <a:defRPr sz="2400" b="1" i="0" baseline="0"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D1F1FC03-E13C-4DBC-B6B4-BEEBF31F83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7935" y="2942999"/>
            <a:ext cx="4081253" cy="3206975"/>
          </a:xfrm>
        </p:spPr>
        <p:txBody>
          <a:bodyPr/>
          <a:lstStyle>
            <a:lvl1pPr defTabSz="486000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A653C2-B73F-4372-9BE7-13E42E96F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8A9466-E19E-43C7-97FD-9BDFF7521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547145D-73D2-4B00-B66C-BDE16DFB7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DDF26409-216B-41E3-9787-EEAF419251B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92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534">
          <p15:clr>
            <a:srgbClr val="547EBF"/>
          </p15:clr>
        </p15:guide>
        <p15:guide id="2" pos="3105">
          <p15:clr>
            <a:srgbClr val="547EBF"/>
          </p15:clr>
        </p15:guide>
        <p15:guide id="3" pos="3350">
          <p15:clr>
            <a:srgbClr val="547EBF"/>
          </p15:clr>
        </p15:guide>
        <p15:guide id="4" pos="7146">
          <p15:clr>
            <a:srgbClr val="547EBF"/>
          </p15:clr>
        </p15:guide>
        <p15:guide id="6" orient="horz" pos="1486">
          <p15:clr>
            <a:srgbClr val="547EBF"/>
          </p15:clr>
        </p15:guide>
        <p15:guide id="7" orient="horz" pos="1854">
          <p15:clr>
            <a:srgbClr val="547EBF"/>
          </p15:clr>
        </p15:guide>
        <p15:guide id="8" orient="horz" pos="3874">
          <p15:clr>
            <a:srgbClr val="547EBF"/>
          </p15:clr>
        </p15:guide>
        <p15:guide id="9" orient="horz" pos="1119">
          <p15:clr>
            <a:srgbClr val="547EBF"/>
          </p15:clr>
        </p15:guide>
        <p15:guide id="10" orient="horz" pos="1303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&#10;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A7ADD926-F1E6-4465-8EDD-314341AB131D}"/>
              </a:ext>
            </a:extLst>
          </p:cNvPr>
          <p:cNvSpPr>
            <a:spLocks/>
          </p:cNvSpPr>
          <p:nvPr userDrawn="1"/>
        </p:nvSpPr>
        <p:spPr>
          <a:xfrm>
            <a:off x="458401" y="1387800"/>
            <a:ext cx="11275200" cy="505440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prstClr val="black">
                <a:alpha val="25000"/>
              </a:prstClr>
            </a:outerShdw>
          </a:effectLst>
        </p:spPr>
        <p:txBody>
          <a:bodyPr vert="horz" lIns="360000" tIns="360000" rIns="360000" bIns="360000" rtlCol="0">
            <a:noAutofit/>
          </a:bodyPr>
          <a:lstStyle/>
          <a:p>
            <a:pPr lvl="0" indent="0">
              <a:lnSpc>
                <a:spcPct val="120000"/>
              </a:lnSpc>
              <a:spcBef>
                <a:spcPts val="12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None/>
            </a:pPr>
            <a:endParaRPr lang="en-US" sz="2400" b="1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2770FE5-7639-45B7-BE4F-32E8CC074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81A653C2-B73F-4372-9BE7-13E42E96F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8C8A9466-E19E-43C7-97FD-9BDFF7521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7547145D-73D2-4B00-B66C-BDE16DFB7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Layoutschutz" hidden="1">
            <a:extLst>
              <a:ext uri="{FF2B5EF4-FFF2-40B4-BE49-F238E27FC236}">
                <a16:creationId xmlns:a16="http://schemas.microsoft.com/office/drawing/2014/main" id="{A40F6ECE-9194-4162-9BA4-8B3A057A1EA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822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534">
          <p15:clr>
            <a:srgbClr val="547EBF"/>
          </p15:clr>
        </p15:guide>
        <p15:guide id="2" pos="3105">
          <p15:clr>
            <a:srgbClr val="547EBF"/>
          </p15:clr>
        </p15:guide>
        <p15:guide id="3" pos="3350">
          <p15:clr>
            <a:srgbClr val="547EBF"/>
          </p15:clr>
        </p15:guide>
        <p15:guide id="4" pos="7146">
          <p15:clr>
            <a:srgbClr val="547EBF"/>
          </p15:clr>
        </p15:guide>
        <p15:guide id="6" orient="horz" pos="1486">
          <p15:clr>
            <a:srgbClr val="547EBF"/>
          </p15:clr>
        </p15:guide>
        <p15:guide id="7" orient="horz" pos="1854">
          <p15:clr>
            <a:srgbClr val="547EBF"/>
          </p15:clr>
        </p15:guide>
        <p15:guide id="8" orient="horz" pos="3874">
          <p15:clr>
            <a:srgbClr val="547EBF"/>
          </p15:clr>
        </p15:guide>
        <p15:guide id="9" orient="horz" pos="1119">
          <p15:clr>
            <a:srgbClr val="547EBF"/>
          </p15:clr>
        </p15:guide>
        <p15:guide id="10" orient="horz" pos="130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A18C845-93F0-4295-951F-C4DA418DC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400" y="318600"/>
            <a:ext cx="6442463" cy="58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   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85CC5E9-9858-4C3D-80AD-6307B9893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15BD6-27E9-4759-BF84-A7ADBF6583F9}" type="datetimeFigureOut">
              <a:rPr lang="de-DE"/>
              <a:pPr/>
              <a:t>0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CDEC93B-3918-4791-8004-F8CABFEC3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55BF443-7404-4CF2-9990-16AF4594F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F8BA1034-15DD-4813-943D-A78747A0C5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232000" y="96065"/>
            <a:ext cx="3960000" cy="6761933"/>
          </a:xfrm>
          <a:solidFill>
            <a:schemeClr val="bg2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7FC98-3807-4028-A1FA-3C7D0B2A4F5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FFC000"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Layoutschutz" hidden="1">
            <a:extLst>
              <a:ext uri="{FF2B5EF4-FFF2-40B4-BE49-F238E27FC236}">
                <a16:creationId xmlns:a16="http://schemas.microsoft.com/office/drawing/2014/main" id="{3947B45A-9FEF-4948-A5B1-17AD846B07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55289" y="-114833"/>
            <a:ext cx="12282731" cy="7145079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25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pos="7391">
          <p15:clr>
            <a:srgbClr val="547EBF"/>
          </p15:clr>
        </p15:guide>
        <p15:guide id="3" orient="horz" pos="201">
          <p15:clr>
            <a:srgbClr val="547EBF"/>
          </p15:clr>
        </p15:guide>
        <p15:guide id="4" orient="horz" pos="568">
          <p15:clr>
            <a:srgbClr val="547EBF"/>
          </p15:clr>
        </p15:guide>
        <p15:guide id="5" orient="horz" pos="874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pos="3718">
          <p15:clr>
            <a:srgbClr val="A4A3A4"/>
          </p15:clr>
        </p15:guide>
        <p15:guide id="8" pos="3962">
          <p15:clr>
            <a:srgbClr val="A4A3A4"/>
          </p15:clr>
        </p15:guide>
        <p15:guide id="10" pos="7680">
          <p15:clr>
            <a:srgbClr val="A4A3A4"/>
          </p15:clr>
        </p15:guide>
        <p15:guide id="11" pos="4942">
          <p15:clr>
            <a:srgbClr val="A4A3A4"/>
          </p15:clr>
        </p15:guide>
        <p15:guide id="12" pos="5187">
          <p15:clr>
            <a:srgbClr val="A4A3A4"/>
          </p15:clr>
        </p15:guide>
        <p15:guide id="15" pos="6167">
          <p15:clr>
            <a:srgbClr val="A4A3A4"/>
          </p15:clr>
        </p15:guide>
        <p15:guide id="16" pos="6412">
          <p15:clr>
            <a:srgbClr val="A4A3A4"/>
          </p15:clr>
        </p15:guide>
        <p15:guide id="19" pos="2738">
          <p15:clr>
            <a:srgbClr val="A4A3A4"/>
          </p15:clr>
        </p15:guide>
        <p15:guide id="20" pos="2493">
          <p15:clr>
            <a:srgbClr val="A4A3A4"/>
          </p15:clr>
        </p15:guide>
        <p15:guide id="26" orient="horz" pos="1854">
          <p15:clr>
            <a:srgbClr val="A4A3A4"/>
          </p15:clr>
        </p15:guide>
        <p15:guide id="27" orient="horz" pos="2099">
          <p15:clr>
            <a:srgbClr val="A4A3A4"/>
          </p15:clr>
        </p15:guide>
        <p15:guide id="29" orient="horz" pos="3078">
          <p15:clr>
            <a:srgbClr val="A4A3A4"/>
          </p15:clr>
        </p15:guide>
        <p15:guide id="30" orient="horz" pos="3323">
          <p15:clr>
            <a:srgbClr val="A4A3A4"/>
          </p15:clr>
        </p15:guide>
        <p15:guide id="33" pos="1513">
          <p15:clr>
            <a:srgbClr val="A4A3A4"/>
          </p15:clr>
        </p15:guide>
        <p15:guide id="34" pos="1268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&#10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662048-C826-4783-A5CE-20B3E7DE2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0D0533-7A19-452F-8365-DFA883BF7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558B4-C5C8-4B1F-A7A9-4A7960C1E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243CC649-AF1F-4C3F-B66A-183E7DDCFE0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04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9E84BD6-4448-4AA8-A712-DDA0680E1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7A61216-B201-4C21-95A7-55D8C0EE0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E14833-6258-4928-8137-8DB18764C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2" name="MIO_LOGOPLACEHOLDER#LastSlide">
            <a:extLst>
              <a:ext uri="{FF2B5EF4-FFF2-40B4-BE49-F238E27FC236}">
                <a16:creationId xmlns:a16="http://schemas.microsoft.com/office/drawing/2014/main" id="{DC42C80C-C39E-4399-8778-822EFABDA8F9}"/>
              </a:ext>
            </a:extLst>
          </p:cNvPr>
          <p:cNvGrpSpPr/>
          <p:nvPr userDrawn="1"/>
        </p:nvGrpSpPr>
        <p:grpSpPr>
          <a:xfrm>
            <a:off x="4395000" y="2829626"/>
            <a:ext cx="3403663" cy="1197081"/>
            <a:chOff x="4395000" y="2829626"/>
            <a:chExt cx="3403663" cy="1197081"/>
          </a:xfrm>
        </p:grpSpPr>
        <p:grpSp>
          <p:nvGrpSpPr>
            <p:cNvPr id="46" name="Claim">
              <a:extLst>
                <a:ext uri="{FF2B5EF4-FFF2-40B4-BE49-F238E27FC236}">
                  <a16:creationId xmlns:a16="http://schemas.microsoft.com/office/drawing/2014/main" id="{0FA7724D-DA30-4E37-BA41-EEE62F9CD4CA}"/>
                </a:ext>
              </a:extLst>
            </p:cNvPr>
            <p:cNvGrpSpPr/>
            <p:nvPr/>
          </p:nvGrpSpPr>
          <p:grpSpPr>
            <a:xfrm>
              <a:off x="5647579" y="3797503"/>
              <a:ext cx="2151084" cy="229204"/>
              <a:chOff x="5647579" y="3797503"/>
              <a:chExt cx="2151084" cy="229204"/>
            </a:xfrm>
            <a:solidFill>
              <a:srgbClr val="676767"/>
            </a:solidFill>
          </p:grpSpPr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6D4E4FA-075E-4183-9221-9BAD8931E148}"/>
                  </a:ext>
                </a:extLst>
              </p:cNvPr>
              <p:cNvSpPr/>
              <p:nvPr/>
            </p:nvSpPr>
            <p:spPr>
              <a:xfrm>
                <a:off x="5647579" y="3797503"/>
                <a:ext cx="105483" cy="180367"/>
              </a:xfrm>
              <a:custGeom>
                <a:avLst/>
                <a:gdLst>
                  <a:gd name="connsiteX0" fmla="*/ 89351 w 105483"/>
                  <a:gd name="connsiteY0" fmla="*/ 129309 h 180367"/>
                  <a:gd name="connsiteX1" fmla="*/ 47173 w 105483"/>
                  <a:gd name="connsiteY1" fmla="*/ 172597 h 180367"/>
                  <a:gd name="connsiteX2" fmla="*/ 31079 w 105483"/>
                  <a:gd name="connsiteY2" fmla="*/ 180367 h 180367"/>
                  <a:gd name="connsiteX3" fmla="*/ 26639 w 105483"/>
                  <a:gd name="connsiteY3" fmla="*/ 178702 h 180367"/>
                  <a:gd name="connsiteX4" fmla="*/ 24974 w 105483"/>
                  <a:gd name="connsiteY4" fmla="*/ 174262 h 180367"/>
                  <a:gd name="connsiteX5" fmla="*/ 27194 w 105483"/>
                  <a:gd name="connsiteY5" fmla="*/ 168713 h 180367"/>
                  <a:gd name="connsiteX6" fmla="*/ 34408 w 105483"/>
                  <a:gd name="connsiteY6" fmla="*/ 164273 h 180367"/>
                  <a:gd name="connsiteX7" fmla="*/ 64932 w 105483"/>
                  <a:gd name="connsiteY7" fmla="*/ 143184 h 180367"/>
                  <a:gd name="connsiteX8" fmla="*/ 86576 w 105483"/>
                  <a:gd name="connsiteY8" fmla="*/ 114325 h 180367"/>
                  <a:gd name="connsiteX9" fmla="*/ 94346 w 105483"/>
                  <a:gd name="connsiteY9" fmla="*/ 87131 h 180367"/>
                  <a:gd name="connsiteX10" fmla="*/ 92126 w 105483"/>
                  <a:gd name="connsiteY10" fmla="*/ 79917 h 180367"/>
                  <a:gd name="connsiteX11" fmla="*/ 85466 w 105483"/>
                  <a:gd name="connsiteY11" fmla="*/ 77697 h 180367"/>
                  <a:gd name="connsiteX12" fmla="*/ 64377 w 105483"/>
                  <a:gd name="connsiteY12" fmla="*/ 86021 h 180367"/>
                  <a:gd name="connsiteX13" fmla="*/ 44398 w 105483"/>
                  <a:gd name="connsiteY13" fmla="*/ 107665 h 180367"/>
                  <a:gd name="connsiteX14" fmla="*/ 30524 w 105483"/>
                  <a:gd name="connsiteY14" fmla="*/ 132084 h 180367"/>
                  <a:gd name="connsiteX15" fmla="*/ 20534 w 105483"/>
                  <a:gd name="connsiteY15" fmla="*/ 162608 h 180367"/>
                  <a:gd name="connsiteX16" fmla="*/ 12209 w 105483"/>
                  <a:gd name="connsiteY16" fmla="*/ 170932 h 180367"/>
                  <a:gd name="connsiteX17" fmla="*/ 8325 w 105483"/>
                  <a:gd name="connsiteY17" fmla="*/ 168158 h 180367"/>
                  <a:gd name="connsiteX18" fmla="*/ 6105 w 105483"/>
                  <a:gd name="connsiteY18" fmla="*/ 162608 h 180367"/>
                  <a:gd name="connsiteX19" fmla="*/ 3885 w 105483"/>
                  <a:gd name="connsiteY19" fmla="*/ 79362 h 180367"/>
                  <a:gd name="connsiteX20" fmla="*/ 1110 w 105483"/>
                  <a:gd name="connsiteY20" fmla="*/ 16649 h 180367"/>
                  <a:gd name="connsiteX21" fmla="*/ 1110 w 105483"/>
                  <a:gd name="connsiteY21" fmla="*/ 13874 h 180367"/>
                  <a:gd name="connsiteX22" fmla="*/ 555 w 105483"/>
                  <a:gd name="connsiteY22" fmla="*/ 11100 h 180367"/>
                  <a:gd name="connsiteX23" fmla="*/ 0 w 105483"/>
                  <a:gd name="connsiteY23" fmla="*/ 8325 h 180367"/>
                  <a:gd name="connsiteX24" fmla="*/ 0 w 105483"/>
                  <a:gd name="connsiteY24" fmla="*/ 5550 h 180367"/>
                  <a:gd name="connsiteX25" fmla="*/ 4995 w 105483"/>
                  <a:gd name="connsiteY25" fmla="*/ 0 h 180367"/>
                  <a:gd name="connsiteX26" fmla="*/ 11655 w 105483"/>
                  <a:gd name="connsiteY26" fmla="*/ 4995 h 180367"/>
                  <a:gd name="connsiteX27" fmla="*/ 14429 w 105483"/>
                  <a:gd name="connsiteY27" fmla="*/ 16649 h 180367"/>
                  <a:gd name="connsiteX28" fmla="*/ 14429 w 105483"/>
                  <a:gd name="connsiteY28" fmla="*/ 29414 h 180367"/>
                  <a:gd name="connsiteX29" fmla="*/ 16094 w 105483"/>
                  <a:gd name="connsiteY29" fmla="*/ 118765 h 180367"/>
                  <a:gd name="connsiteX30" fmla="*/ 18314 w 105483"/>
                  <a:gd name="connsiteY30" fmla="*/ 135969 h 180367"/>
                  <a:gd name="connsiteX31" fmla="*/ 26639 w 105483"/>
                  <a:gd name="connsiteY31" fmla="*/ 118210 h 180367"/>
                  <a:gd name="connsiteX32" fmla="*/ 38848 w 105483"/>
                  <a:gd name="connsiteY32" fmla="*/ 99896 h 180367"/>
                  <a:gd name="connsiteX33" fmla="*/ 63822 w 105483"/>
                  <a:gd name="connsiteY33" fmla="*/ 74922 h 180367"/>
                  <a:gd name="connsiteX34" fmla="*/ 88241 w 105483"/>
                  <a:gd name="connsiteY34" fmla="*/ 65487 h 180367"/>
                  <a:gd name="connsiteX35" fmla="*/ 100451 w 105483"/>
                  <a:gd name="connsiteY35" fmla="*/ 70482 h 180367"/>
                  <a:gd name="connsiteX36" fmla="*/ 105445 w 105483"/>
                  <a:gd name="connsiteY36" fmla="*/ 84356 h 180367"/>
                  <a:gd name="connsiteX37" fmla="*/ 89351 w 105483"/>
                  <a:gd name="connsiteY37" fmla="*/ 129309 h 1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5483" h="180367">
                    <a:moveTo>
                      <a:pt x="89351" y="129309"/>
                    </a:moveTo>
                    <a:cubicBezTo>
                      <a:pt x="78252" y="145404"/>
                      <a:pt x="64377" y="159833"/>
                      <a:pt x="47173" y="172597"/>
                    </a:cubicBezTo>
                    <a:cubicBezTo>
                      <a:pt x="39958" y="178147"/>
                      <a:pt x="34408" y="180367"/>
                      <a:pt x="31079" y="180367"/>
                    </a:cubicBezTo>
                    <a:cubicBezTo>
                      <a:pt x="29414" y="180367"/>
                      <a:pt x="27749" y="179812"/>
                      <a:pt x="26639" y="178702"/>
                    </a:cubicBezTo>
                    <a:cubicBezTo>
                      <a:pt x="25529" y="177592"/>
                      <a:pt x="24974" y="175927"/>
                      <a:pt x="24974" y="174262"/>
                    </a:cubicBezTo>
                    <a:cubicBezTo>
                      <a:pt x="24974" y="172597"/>
                      <a:pt x="25529" y="170932"/>
                      <a:pt x="27194" y="168713"/>
                    </a:cubicBezTo>
                    <a:cubicBezTo>
                      <a:pt x="28859" y="167048"/>
                      <a:pt x="31079" y="165383"/>
                      <a:pt x="34408" y="164273"/>
                    </a:cubicBezTo>
                    <a:cubicBezTo>
                      <a:pt x="45508" y="159278"/>
                      <a:pt x="56053" y="152618"/>
                      <a:pt x="64932" y="143184"/>
                    </a:cubicBezTo>
                    <a:cubicBezTo>
                      <a:pt x="74367" y="133749"/>
                      <a:pt x="81581" y="124315"/>
                      <a:pt x="86576" y="114325"/>
                    </a:cubicBezTo>
                    <a:cubicBezTo>
                      <a:pt x="91571" y="104335"/>
                      <a:pt x="94346" y="94901"/>
                      <a:pt x="94346" y="87131"/>
                    </a:cubicBezTo>
                    <a:cubicBezTo>
                      <a:pt x="94346" y="83801"/>
                      <a:pt x="93791" y="81581"/>
                      <a:pt x="92126" y="79917"/>
                    </a:cubicBezTo>
                    <a:cubicBezTo>
                      <a:pt x="91016" y="78252"/>
                      <a:pt x="88241" y="77697"/>
                      <a:pt x="85466" y="77697"/>
                    </a:cubicBezTo>
                    <a:cubicBezTo>
                      <a:pt x="78806" y="77697"/>
                      <a:pt x="71592" y="80471"/>
                      <a:pt x="64377" y="86021"/>
                    </a:cubicBezTo>
                    <a:cubicBezTo>
                      <a:pt x="57162" y="91571"/>
                      <a:pt x="50503" y="98786"/>
                      <a:pt x="44398" y="107665"/>
                    </a:cubicBezTo>
                    <a:cubicBezTo>
                      <a:pt x="39958" y="114325"/>
                      <a:pt x="34963" y="122650"/>
                      <a:pt x="30524" y="132084"/>
                    </a:cubicBezTo>
                    <a:cubicBezTo>
                      <a:pt x="26084" y="141519"/>
                      <a:pt x="22754" y="151508"/>
                      <a:pt x="20534" y="162608"/>
                    </a:cubicBezTo>
                    <a:cubicBezTo>
                      <a:pt x="19424" y="168158"/>
                      <a:pt x="16649" y="170932"/>
                      <a:pt x="12209" y="170932"/>
                    </a:cubicBezTo>
                    <a:cubicBezTo>
                      <a:pt x="11100" y="170932"/>
                      <a:pt x="9990" y="169823"/>
                      <a:pt x="8325" y="168158"/>
                    </a:cubicBezTo>
                    <a:cubicBezTo>
                      <a:pt x="7215" y="165938"/>
                      <a:pt x="6105" y="164273"/>
                      <a:pt x="6105" y="162608"/>
                    </a:cubicBezTo>
                    <a:cubicBezTo>
                      <a:pt x="6105" y="143739"/>
                      <a:pt x="5550" y="115990"/>
                      <a:pt x="3885" y="79362"/>
                    </a:cubicBezTo>
                    <a:cubicBezTo>
                      <a:pt x="2775" y="42733"/>
                      <a:pt x="1665" y="22199"/>
                      <a:pt x="1110" y="16649"/>
                    </a:cubicBezTo>
                    <a:cubicBezTo>
                      <a:pt x="1110" y="15539"/>
                      <a:pt x="1110" y="14984"/>
                      <a:pt x="1110" y="13874"/>
                    </a:cubicBezTo>
                    <a:cubicBezTo>
                      <a:pt x="1110" y="12764"/>
                      <a:pt x="555" y="12210"/>
                      <a:pt x="555" y="11100"/>
                    </a:cubicBezTo>
                    <a:cubicBezTo>
                      <a:pt x="555" y="9990"/>
                      <a:pt x="0" y="8880"/>
                      <a:pt x="0" y="8325"/>
                    </a:cubicBezTo>
                    <a:cubicBezTo>
                      <a:pt x="0" y="7215"/>
                      <a:pt x="0" y="6105"/>
                      <a:pt x="0" y="5550"/>
                    </a:cubicBezTo>
                    <a:cubicBezTo>
                      <a:pt x="0" y="1665"/>
                      <a:pt x="1665" y="0"/>
                      <a:pt x="4995" y="0"/>
                    </a:cubicBezTo>
                    <a:cubicBezTo>
                      <a:pt x="7770" y="0"/>
                      <a:pt x="9990" y="1665"/>
                      <a:pt x="11655" y="4995"/>
                    </a:cubicBezTo>
                    <a:cubicBezTo>
                      <a:pt x="13319" y="8325"/>
                      <a:pt x="14429" y="12210"/>
                      <a:pt x="14429" y="16649"/>
                    </a:cubicBezTo>
                    <a:lnTo>
                      <a:pt x="14429" y="29414"/>
                    </a:lnTo>
                    <a:cubicBezTo>
                      <a:pt x="14429" y="68262"/>
                      <a:pt x="14984" y="97676"/>
                      <a:pt x="16094" y="118765"/>
                    </a:cubicBezTo>
                    <a:cubicBezTo>
                      <a:pt x="16649" y="128754"/>
                      <a:pt x="17204" y="134859"/>
                      <a:pt x="18314" y="135969"/>
                    </a:cubicBezTo>
                    <a:cubicBezTo>
                      <a:pt x="19979" y="130419"/>
                      <a:pt x="22754" y="124869"/>
                      <a:pt x="26639" y="118210"/>
                    </a:cubicBezTo>
                    <a:cubicBezTo>
                      <a:pt x="30524" y="111550"/>
                      <a:pt x="34408" y="105445"/>
                      <a:pt x="38848" y="99896"/>
                    </a:cubicBezTo>
                    <a:cubicBezTo>
                      <a:pt x="46618" y="89351"/>
                      <a:pt x="54943" y="81026"/>
                      <a:pt x="63822" y="74922"/>
                    </a:cubicBezTo>
                    <a:cubicBezTo>
                      <a:pt x="72702" y="68817"/>
                      <a:pt x="81026" y="65487"/>
                      <a:pt x="88241" y="65487"/>
                    </a:cubicBezTo>
                    <a:cubicBezTo>
                      <a:pt x="93236" y="65487"/>
                      <a:pt x="97121" y="67152"/>
                      <a:pt x="100451" y="70482"/>
                    </a:cubicBezTo>
                    <a:cubicBezTo>
                      <a:pt x="103780" y="73812"/>
                      <a:pt x="105445" y="78252"/>
                      <a:pt x="105445" y="84356"/>
                    </a:cubicBezTo>
                    <a:cubicBezTo>
                      <a:pt x="106000" y="98231"/>
                      <a:pt x="100451" y="113215"/>
                      <a:pt x="89351" y="1293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B2B29A97-3EA4-4979-98D1-F2CECB2C3EC3}"/>
                  </a:ext>
                </a:extLst>
              </p:cNvPr>
              <p:cNvSpPr/>
              <p:nvPr/>
            </p:nvSpPr>
            <p:spPr>
              <a:xfrm>
                <a:off x="5771338" y="3857440"/>
                <a:ext cx="94900" cy="119874"/>
              </a:xfrm>
              <a:custGeom>
                <a:avLst/>
                <a:gdLst>
                  <a:gd name="connsiteX0" fmla="*/ 94901 w 94900"/>
                  <a:gd name="connsiteY0" fmla="*/ 59937 h 119874"/>
                  <a:gd name="connsiteX1" fmla="*/ 88241 w 94900"/>
                  <a:gd name="connsiteY1" fmla="*/ 79362 h 119874"/>
                  <a:gd name="connsiteX2" fmla="*/ 68817 w 94900"/>
                  <a:gd name="connsiteY2" fmla="*/ 107110 h 119874"/>
                  <a:gd name="connsiteX3" fmla="*/ 36628 w 94900"/>
                  <a:gd name="connsiteY3" fmla="*/ 119875 h 119874"/>
                  <a:gd name="connsiteX4" fmla="*/ 10544 w 94900"/>
                  <a:gd name="connsiteY4" fmla="*/ 109885 h 119874"/>
                  <a:gd name="connsiteX5" fmla="*/ 0 w 94900"/>
                  <a:gd name="connsiteY5" fmla="*/ 79917 h 119874"/>
                  <a:gd name="connsiteX6" fmla="*/ 8880 w 94900"/>
                  <a:gd name="connsiteY6" fmla="*/ 42178 h 119874"/>
                  <a:gd name="connsiteX7" fmla="*/ 31634 w 94900"/>
                  <a:gd name="connsiteY7" fmla="*/ 11655 h 119874"/>
                  <a:gd name="connsiteX8" fmla="*/ 61047 w 94900"/>
                  <a:gd name="connsiteY8" fmla="*/ 0 h 119874"/>
                  <a:gd name="connsiteX9" fmla="*/ 76032 w 94900"/>
                  <a:gd name="connsiteY9" fmla="*/ 3885 h 119874"/>
                  <a:gd name="connsiteX10" fmla="*/ 82136 w 94900"/>
                  <a:gd name="connsiteY10" fmla="*/ 15539 h 119874"/>
                  <a:gd name="connsiteX11" fmla="*/ 72702 w 94900"/>
                  <a:gd name="connsiteY11" fmla="*/ 32189 h 119874"/>
                  <a:gd name="connsiteX12" fmla="*/ 47728 w 94900"/>
                  <a:gd name="connsiteY12" fmla="*/ 46063 h 119874"/>
                  <a:gd name="connsiteX13" fmla="*/ 16094 w 94900"/>
                  <a:gd name="connsiteY13" fmla="*/ 54943 h 119874"/>
                  <a:gd name="connsiteX14" fmla="*/ 13319 w 94900"/>
                  <a:gd name="connsiteY14" fmla="*/ 76587 h 119874"/>
                  <a:gd name="connsiteX15" fmla="*/ 19979 w 94900"/>
                  <a:gd name="connsiteY15" fmla="*/ 98231 h 119874"/>
                  <a:gd name="connsiteX16" fmla="*/ 38848 w 94900"/>
                  <a:gd name="connsiteY16" fmla="*/ 106000 h 119874"/>
                  <a:gd name="connsiteX17" fmla="*/ 69372 w 94900"/>
                  <a:gd name="connsiteY17" fmla="*/ 92681 h 119874"/>
                  <a:gd name="connsiteX18" fmla="*/ 88796 w 94900"/>
                  <a:gd name="connsiteY18" fmla="*/ 62712 h 119874"/>
                  <a:gd name="connsiteX19" fmla="*/ 90461 w 94900"/>
                  <a:gd name="connsiteY19" fmla="*/ 58827 h 119874"/>
                  <a:gd name="connsiteX20" fmla="*/ 92681 w 94900"/>
                  <a:gd name="connsiteY20" fmla="*/ 56053 h 119874"/>
                  <a:gd name="connsiteX21" fmla="*/ 94901 w 94900"/>
                  <a:gd name="connsiteY21" fmla="*/ 59937 h 119874"/>
                  <a:gd name="connsiteX22" fmla="*/ 68262 w 94900"/>
                  <a:gd name="connsiteY22" fmla="*/ 12209 h 119874"/>
                  <a:gd name="connsiteX23" fmla="*/ 58827 w 94900"/>
                  <a:gd name="connsiteY23" fmla="*/ 9990 h 119874"/>
                  <a:gd name="connsiteX24" fmla="*/ 41068 w 94900"/>
                  <a:gd name="connsiteY24" fmla="*/ 16094 h 119874"/>
                  <a:gd name="connsiteX25" fmla="*/ 26639 w 94900"/>
                  <a:gd name="connsiteY25" fmla="*/ 30524 h 119874"/>
                  <a:gd name="connsiteX26" fmla="*/ 19424 w 94900"/>
                  <a:gd name="connsiteY26" fmla="*/ 45508 h 119874"/>
                  <a:gd name="connsiteX27" fmla="*/ 43288 w 94900"/>
                  <a:gd name="connsiteY27" fmla="*/ 39403 h 119874"/>
                  <a:gd name="connsiteX28" fmla="*/ 63822 w 94900"/>
                  <a:gd name="connsiteY28" fmla="*/ 28304 h 119874"/>
                  <a:gd name="connsiteX29" fmla="*/ 72147 w 94900"/>
                  <a:gd name="connsiteY29" fmla="*/ 18314 h 119874"/>
                  <a:gd name="connsiteX30" fmla="*/ 68262 w 94900"/>
                  <a:gd name="connsiteY30" fmla="*/ 12209 h 11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4900" h="119874">
                    <a:moveTo>
                      <a:pt x="94901" y="59937"/>
                    </a:moveTo>
                    <a:cubicBezTo>
                      <a:pt x="94901" y="62712"/>
                      <a:pt x="92681" y="69372"/>
                      <a:pt x="88241" y="79362"/>
                    </a:cubicBezTo>
                    <a:cubicBezTo>
                      <a:pt x="83801" y="89351"/>
                      <a:pt x="77697" y="98231"/>
                      <a:pt x="68817" y="107110"/>
                    </a:cubicBezTo>
                    <a:cubicBezTo>
                      <a:pt x="59937" y="115435"/>
                      <a:pt x="49393" y="119875"/>
                      <a:pt x="36628" y="119875"/>
                    </a:cubicBezTo>
                    <a:cubicBezTo>
                      <a:pt x="26084" y="119875"/>
                      <a:pt x="17759" y="116545"/>
                      <a:pt x="10544" y="109885"/>
                    </a:cubicBezTo>
                    <a:cubicBezTo>
                      <a:pt x="3330" y="103225"/>
                      <a:pt x="0" y="93236"/>
                      <a:pt x="0" y="79917"/>
                    </a:cubicBezTo>
                    <a:cubicBezTo>
                      <a:pt x="0" y="67152"/>
                      <a:pt x="2775" y="54943"/>
                      <a:pt x="8880" y="42178"/>
                    </a:cubicBezTo>
                    <a:cubicBezTo>
                      <a:pt x="14984" y="29969"/>
                      <a:pt x="22199" y="19424"/>
                      <a:pt x="31634" y="11655"/>
                    </a:cubicBezTo>
                    <a:cubicBezTo>
                      <a:pt x="41068" y="3885"/>
                      <a:pt x="51058" y="0"/>
                      <a:pt x="61047" y="0"/>
                    </a:cubicBezTo>
                    <a:cubicBezTo>
                      <a:pt x="67152" y="0"/>
                      <a:pt x="72147" y="1110"/>
                      <a:pt x="76032" y="3885"/>
                    </a:cubicBezTo>
                    <a:cubicBezTo>
                      <a:pt x="79916" y="6660"/>
                      <a:pt x="82136" y="10545"/>
                      <a:pt x="82136" y="15539"/>
                    </a:cubicBezTo>
                    <a:cubicBezTo>
                      <a:pt x="82136" y="21089"/>
                      <a:pt x="78807" y="26639"/>
                      <a:pt x="72702" y="32189"/>
                    </a:cubicBezTo>
                    <a:cubicBezTo>
                      <a:pt x="66042" y="37738"/>
                      <a:pt x="57717" y="42178"/>
                      <a:pt x="47728" y="46063"/>
                    </a:cubicBezTo>
                    <a:cubicBezTo>
                      <a:pt x="37738" y="49948"/>
                      <a:pt x="27194" y="53278"/>
                      <a:pt x="16094" y="54943"/>
                    </a:cubicBezTo>
                    <a:cubicBezTo>
                      <a:pt x="13874" y="62157"/>
                      <a:pt x="13319" y="69927"/>
                      <a:pt x="13319" y="76587"/>
                    </a:cubicBezTo>
                    <a:cubicBezTo>
                      <a:pt x="13319" y="86021"/>
                      <a:pt x="15539" y="93236"/>
                      <a:pt x="19979" y="98231"/>
                    </a:cubicBezTo>
                    <a:cubicBezTo>
                      <a:pt x="24419" y="103225"/>
                      <a:pt x="31079" y="106000"/>
                      <a:pt x="38848" y="106000"/>
                    </a:cubicBezTo>
                    <a:cubicBezTo>
                      <a:pt x="51613" y="106000"/>
                      <a:pt x="61602" y="101561"/>
                      <a:pt x="69372" y="92681"/>
                    </a:cubicBezTo>
                    <a:cubicBezTo>
                      <a:pt x="77142" y="83801"/>
                      <a:pt x="83801" y="73812"/>
                      <a:pt x="88796" y="62712"/>
                    </a:cubicBezTo>
                    <a:cubicBezTo>
                      <a:pt x="89351" y="62157"/>
                      <a:pt x="89906" y="61047"/>
                      <a:pt x="90461" y="58827"/>
                    </a:cubicBezTo>
                    <a:cubicBezTo>
                      <a:pt x="91016" y="57162"/>
                      <a:pt x="92126" y="56053"/>
                      <a:pt x="92681" y="56053"/>
                    </a:cubicBezTo>
                    <a:cubicBezTo>
                      <a:pt x="94346" y="56607"/>
                      <a:pt x="94901" y="57718"/>
                      <a:pt x="94901" y="59937"/>
                    </a:cubicBezTo>
                    <a:close/>
                    <a:moveTo>
                      <a:pt x="68262" y="12209"/>
                    </a:moveTo>
                    <a:cubicBezTo>
                      <a:pt x="65487" y="10545"/>
                      <a:pt x="62712" y="9990"/>
                      <a:pt x="58827" y="9990"/>
                    </a:cubicBezTo>
                    <a:cubicBezTo>
                      <a:pt x="52723" y="9990"/>
                      <a:pt x="46618" y="12209"/>
                      <a:pt x="41068" y="16094"/>
                    </a:cubicBezTo>
                    <a:cubicBezTo>
                      <a:pt x="35518" y="19979"/>
                      <a:pt x="30524" y="24974"/>
                      <a:pt x="26639" y="30524"/>
                    </a:cubicBezTo>
                    <a:cubicBezTo>
                      <a:pt x="22754" y="36073"/>
                      <a:pt x="20534" y="41068"/>
                      <a:pt x="19424" y="45508"/>
                    </a:cubicBezTo>
                    <a:cubicBezTo>
                      <a:pt x="26639" y="44953"/>
                      <a:pt x="34963" y="42733"/>
                      <a:pt x="43288" y="39403"/>
                    </a:cubicBezTo>
                    <a:cubicBezTo>
                      <a:pt x="51613" y="36073"/>
                      <a:pt x="58272" y="32189"/>
                      <a:pt x="63822" y="28304"/>
                    </a:cubicBezTo>
                    <a:cubicBezTo>
                      <a:pt x="69372" y="24419"/>
                      <a:pt x="72147" y="21089"/>
                      <a:pt x="72147" y="18314"/>
                    </a:cubicBezTo>
                    <a:cubicBezTo>
                      <a:pt x="72147" y="15539"/>
                      <a:pt x="70482" y="13874"/>
                      <a:pt x="68262" y="122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D2390278-BE7B-4120-AC7D-E17D45B1E9A1}"/>
                  </a:ext>
                </a:extLst>
              </p:cNvPr>
              <p:cNvSpPr/>
              <p:nvPr/>
            </p:nvSpPr>
            <p:spPr>
              <a:xfrm>
                <a:off x="5950041" y="3860770"/>
                <a:ext cx="86021" cy="165937"/>
              </a:xfrm>
              <a:custGeom>
                <a:avLst/>
                <a:gdLst>
                  <a:gd name="connsiteX0" fmla="*/ 83246 w 86021"/>
                  <a:gd name="connsiteY0" fmla="*/ 32189 h 165937"/>
                  <a:gd name="connsiteX1" fmla="*/ 79916 w 86021"/>
                  <a:gd name="connsiteY1" fmla="*/ 56052 h 165937"/>
                  <a:gd name="connsiteX2" fmla="*/ 75477 w 86021"/>
                  <a:gd name="connsiteY2" fmla="*/ 101561 h 165937"/>
                  <a:gd name="connsiteX3" fmla="*/ 74367 w 86021"/>
                  <a:gd name="connsiteY3" fmla="*/ 129864 h 165937"/>
                  <a:gd name="connsiteX4" fmla="*/ 76032 w 86021"/>
                  <a:gd name="connsiteY4" fmla="*/ 146513 h 165937"/>
                  <a:gd name="connsiteX5" fmla="*/ 79361 w 86021"/>
                  <a:gd name="connsiteY5" fmla="*/ 155948 h 165937"/>
                  <a:gd name="connsiteX6" fmla="*/ 81026 w 86021"/>
                  <a:gd name="connsiteY6" fmla="*/ 160388 h 165937"/>
                  <a:gd name="connsiteX7" fmla="*/ 77142 w 86021"/>
                  <a:gd name="connsiteY7" fmla="*/ 164273 h 165937"/>
                  <a:gd name="connsiteX8" fmla="*/ 69372 w 86021"/>
                  <a:gd name="connsiteY8" fmla="*/ 165938 h 165937"/>
                  <a:gd name="connsiteX9" fmla="*/ 64377 w 86021"/>
                  <a:gd name="connsiteY9" fmla="*/ 157613 h 165937"/>
                  <a:gd name="connsiteX10" fmla="*/ 62712 w 86021"/>
                  <a:gd name="connsiteY10" fmla="*/ 130974 h 165937"/>
                  <a:gd name="connsiteX11" fmla="*/ 65487 w 86021"/>
                  <a:gd name="connsiteY11" fmla="*/ 94346 h 165937"/>
                  <a:gd name="connsiteX12" fmla="*/ 69372 w 86021"/>
                  <a:gd name="connsiteY12" fmla="*/ 60492 h 165937"/>
                  <a:gd name="connsiteX13" fmla="*/ 53278 w 86021"/>
                  <a:gd name="connsiteY13" fmla="*/ 84911 h 165937"/>
                  <a:gd name="connsiteX14" fmla="*/ 33299 w 86021"/>
                  <a:gd name="connsiteY14" fmla="*/ 96566 h 165937"/>
                  <a:gd name="connsiteX15" fmla="*/ 16094 w 86021"/>
                  <a:gd name="connsiteY15" fmla="*/ 79916 h 165937"/>
                  <a:gd name="connsiteX16" fmla="*/ 4440 w 86021"/>
                  <a:gd name="connsiteY16" fmla="*/ 42178 h 165937"/>
                  <a:gd name="connsiteX17" fmla="*/ 0 w 86021"/>
                  <a:gd name="connsiteY17" fmla="*/ 11654 h 165937"/>
                  <a:gd name="connsiteX18" fmla="*/ 3885 w 86021"/>
                  <a:gd name="connsiteY18" fmla="*/ 5550 h 165937"/>
                  <a:gd name="connsiteX19" fmla="*/ 10544 w 86021"/>
                  <a:gd name="connsiteY19" fmla="*/ 15539 h 165937"/>
                  <a:gd name="connsiteX20" fmla="*/ 36073 w 86021"/>
                  <a:gd name="connsiteY20" fmla="*/ 83246 h 165937"/>
                  <a:gd name="connsiteX21" fmla="*/ 47728 w 86021"/>
                  <a:gd name="connsiteY21" fmla="*/ 78251 h 165937"/>
                  <a:gd name="connsiteX22" fmla="*/ 59382 w 86021"/>
                  <a:gd name="connsiteY22" fmla="*/ 62157 h 165937"/>
                  <a:gd name="connsiteX23" fmla="*/ 66042 w 86021"/>
                  <a:gd name="connsiteY23" fmla="*/ 48283 h 165937"/>
                  <a:gd name="connsiteX24" fmla="*/ 71592 w 86021"/>
                  <a:gd name="connsiteY24" fmla="*/ 34408 h 165937"/>
                  <a:gd name="connsiteX25" fmla="*/ 73257 w 86021"/>
                  <a:gd name="connsiteY25" fmla="*/ 9990 h 165937"/>
                  <a:gd name="connsiteX26" fmla="*/ 74922 w 86021"/>
                  <a:gd name="connsiteY26" fmla="*/ 2220 h 165937"/>
                  <a:gd name="connsiteX27" fmla="*/ 78806 w 86021"/>
                  <a:gd name="connsiteY27" fmla="*/ 0 h 165937"/>
                  <a:gd name="connsiteX28" fmla="*/ 83801 w 86021"/>
                  <a:gd name="connsiteY28" fmla="*/ 2775 h 165937"/>
                  <a:gd name="connsiteX29" fmla="*/ 86021 w 86021"/>
                  <a:gd name="connsiteY29" fmla="*/ 8325 h 165937"/>
                  <a:gd name="connsiteX30" fmla="*/ 83246 w 86021"/>
                  <a:gd name="connsiteY30" fmla="*/ 32189 h 16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86021" h="165937">
                    <a:moveTo>
                      <a:pt x="83246" y="32189"/>
                    </a:moveTo>
                    <a:cubicBezTo>
                      <a:pt x="81026" y="46618"/>
                      <a:pt x="80471" y="54388"/>
                      <a:pt x="79916" y="56052"/>
                    </a:cubicBezTo>
                    <a:cubicBezTo>
                      <a:pt x="77697" y="76032"/>
                      <a:pt x="76032" y="91016"/>
                      <a:pt x="75477" y="101561"/>
                    </a:cubicBezTo>
                    <a:cubicBezTo>
                      <a:pt x="74367" y="112105"/>
                      <a:pt x="74367" y="121540"/>
                      <a:pt x="74367" y="129864"/>
                    </a:cubicBezTo>
                    <a:cubicBezTo>
                      <a:pt x="74367" y="137079"/>
                      <a:pt x="74922" y="142074"/>
                      <a:pt x="76032" y="146513"/>
                    </a:cubicBezTo>
                    <a:cubicBezTo>
                      <a:pt x="77142" y="150953"/>
                      <a:pt x="78251" y="153728"/>
                      <a:pt x="79361" y="155948"/>
                    </a:cubicBezTo>
                    <a:cubicBezTo>
                      <a:pt x="80471" y="158168"/>
                      <a:pt x="81026" y="159833"/>
                      <a:pt x="81026" y="160388"/>
                    </a:cubicBezTo>
                    <a:cubicBezTo>
                      <a:pt x="81026" y="162053"/>
                      <a:pt x="79916" y="163163"/>
                      <a:pt x="77142" y="164273"/>
                    </a:cubicBezTo>
                    <a:cubicBezTo>
                      <a:pt x="74367" y="165383"/>
                      <a:pt x="71592" y="165938"/>
                      <a:pt x="69372" y="165938"/>
                    </a:cubicBezTo>
                    <a:cubicBezTo>
                      <a:pt x="67152" y="165938"/>
                      <a:pt x="65487" y="163163"/>
                      <a:pt x="64377" y="157613"/>
                    </a:cubicBezTo>
                    <a:cubicBezTo>
                      <a:pt x="63267" y="152063"/>
                      <a:pt x="62712" y="143184"/>
                      <a:pt x="62712" y="130974"/>
                    </a:cubicBezTo>
                    <a:cubicBezTo>
                      <a:pt x="62712" y="122095"/>
                      <a:pt x="63822" y="109885"/>
                      <a:pt x="65487" y="94346"/>
                    </a:cubicBezTo>
                    <a:lnTo>
                      <a:pt x="69372" y="60492"/>
                    </a:lnTo>
                    <a:cubicBezTo>
                      <a:pt x="64932" y="68817"/>
                      <a:pt x="59382" y="77142"/>
                      <a:pt x="53278" y="84911"/>
                    </a:cubicBezTo>
                    <a:cubicBezTo>
                      <a:pt x="46618" y="92681"/>
                      <a:pt x="40513" y="96566"/>
                      <a:pt x="33299" y="96566"/>
                    </a:cubicBezTo>
                    <a:cubicBezTo>
                      <a:pt x="27194" y="96566"/>
                      <a:pt x="21089" y="91016"/>
                      <a:pt x="16094" y="79916"/>
                    </a:cubicBezTo>
                    <a:cubicBezTo>
                      <a:pt x="11100" y="68817"/>
                      <a:pt x="7215" y="56607"/>
                      <a:pt x="4440" y="42178"/>
                    </a:cubicBezTo>
                    <a:cubicBezTo>
                      <a:pt x="1665" y="27749"/>
                      <a:pt x="0" y="17759"/>
                      <a:pt x="0" y="11654"/>
                    </a:cubicBezTo>
                    <a:cubicBezTo>
                      <a:pt x="0" y="7770"/>
                      <a:pt x="1110" y="5550"/>
                      <a:pt x="3885" y="5550"/>
                    </a:cubicBezTo>
                    <a:cubicBezTo>
                      <a:pt x="7215" y="5550"/>
                      <a:pt x="9989" y="8880"/>
                      <a:pt x="10544" y="15539"/>
                    </a:cubicBezTo>
                    <a:cubicBezTo>
                      <a:pt x="16649" y="60492"/>
                      <a:pt x="25529" y="83246"/>
                      <a:pt x="36073" y="83246"/>
                    </a:cubicBezTo>
                    <a:cubicBezTo>
                      <a:pt x="40513" y="83246"/>
                      <a:pt x="44398" y="81581"/>
                      <a:pt x="47728" y="78251"/>
                    </a:cubicBezTo>
                    <a:cubicBezTo>
                      <a:pt x="51058" y="74922"/>
                      <a:pt x="54943" y="69372"/>
                      <a:pt x="59382" y="62157"/>
                    </a:cubicBezTo>
                    <a:cubicBezTo>
                      <a:pt x="61602" y="58827"/>
                      <a:pt x="63822" y="54388"/>
                      <a:pt x="66042" y="48283"/>
                    </a:cubicBezTo>
                    <a:cubicBezTo>
                      <a:pt x="68262" y="42733"/>
                      <a:pt x="70482" y="37738"/>
                      <a:pt x="71592" y="34408"/>
                    </a:cubicBezTo>
                    <a:lnTo>
                      <a:pt x="73257" y="9990"/>
                    </a:lnTo>
                    <a:cubicBezTo>
                      <a:pt x="73812" y="6105"/>
                      <a:pt x="73812" y="3885"/>
                      <a:pt x="74922" y="2220"/>
                    </a:cubicBezTo>
                    <a:cubicBezTo>
                      <a:pt x="75477" y="555"/>
                      <a:pt x="77142" y="0"/>
                      <a:pt x="78806" y="0"/>
                    </a:cubicBezTo>
                    <a:cubicBezTo>
                      <a:pt x="80471" y="0"/>
                      <a:pt x="82136" y="1110"/>
                      <a:pt x="83801" y="2775"/>
                    </a:cubicBezTo>
                    <a:cubicBezTo>
                      <a:pt x="85466" y="4440"/>
                      <a:pt x="86021" y="6660"/>
                      <a:pt x="86021" y="8325"/>
                    </a:cubicBezTo>
                    <a:cubicBezTo>
                      <a:pt x="86021" y="11654"/>
                      <a:pt x="84911" y="19424"/>
                      <a:pt x="83246" y="3218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C56E5A71-7CF0-425D-A519-2BC6523318AF}"/>
                  </a:ext>
                </a:extLst>
              </p:cNvPr>
              <p:cNvSpPr/>
              <p:nvPr/>
            </p:nvSpPr>
            <p:spPr>
              <a:xfrm>
                <a:off x="6055486" y="3866320"/>
                <a:ext cx="87686" cy="110995"/>
              </a:xfrm>
              <a:custGeom>
                <a:avLst/>
                <a:gdLst>
                  <a:gd name="connsiteX0" fmla="*/ 81026 w 87686"/>
                  <a:gd name="connsiteY0" fmla="*/ 81026 h 110995"/>
                  <a:gd name="connsiteX1" fmla="*/ 61047 w 87686"/>
                  <a:gd name="connsiteY1" fmla="*/ 102115 h 110995"/>
                  <a:gd name="connsiteX2" fmla="*/ 31633 w 87686"/>
                  <a:gd name="connsiteY2" fmla="*/ 110995 h 110995"/>
                  <a:gd name="connsiteX3" fmla="*/ 7770 w 87686"/>
                  <a:gd name="connsiteY3" fmla="*/ 102115 h 110995"/>
                  <a:gd name="connsiteX4" fmla="*/ 0 w 87686"/>
                  <a:gd name="connsiteY4" fmla="*/ 79916 h 110995"/>
                  <a:gd name="connsiteX5" fmla="*/ 4440 w 87686"/>
                  <a:gd name="connsiteY5" fmla="*/ 51058 h 110995"/>
                  <a:gd name="connsiteX6" fmla="*/ 16649 w 87686"/>
                  <a:gd name="connsiteY6" fmla="*/ 19979 h 110995"/>
                  <a:gd name="connsiteX7" fmla="*/ 20534 w 87686"/>
                  <a:gd name="connsiteY7" fmla="*/ 12764 h 110995"/>
                  <a:gd name="connsiteX8" fmla="*/ 28304 w 87686"/>
                  <a:gd name="connsiteY8" fmla="*/ 3330 h 110995"/>
                  <a:gd name="connsiteX9" fmla="*/ 37738 w 87686"/>
                  <a:gd name="connsiteY9" fmla="*/ 0 h 110995"/>
                  <a:gd name="connsiteX10" fmla="*/ 41623 w 87686"/>
                  <a:gd name="connsiteY10" fmla="*/ 1110 h 110995"/>
                  <a:gd name="connsiteX11" fmla="*/ 43288 w 87686"/>
                  <a:gd name="connsiteY11" fmla="*/ 3885 h 110995"/>
                  <a:gd name="connsiteX12" fmla="*/ 42178 w 87686"/>
                  <a:gd name="connsiteY12" fmla="*/ 6105 h 110995"/>
                  <a:gd name="connsiteX13" fmla="*/ 39958 w 87686"/>
                  <a:gd name="connsiteY13" fmla="*/ 8880 h 110995"/>
                  <a:gd name="connsiteX14" fmla="*/ 26639 w 87686"/>
                  <a:gd name="connsiteY14" fmla="*/ 28304 h 110995"/>
                  <a:gd name="connsiteX15" fmla="*/ 16094 w 87686"/>
                  <a:gd name="connsiteY15" fmla="*/ 52723 h 110995"/>
                  <a:gd name="connsiteX16" fmla="*/ 12209 w 87686"/>
                  <a:gd name="connsiteY16" fmla="*/ 79362 h 110995"/>
                  <a:gd name="connsiteX17" fmla="*/ 35518 w 87686"/>
                  <a:gd name="connsiteY17" fmla="*/ 98786 h 110995"/>
                  <a:gd name="connsiteX18" fmla="*/ 56052 w 87686"/>
                  <a:gd name="connsiteY18" fmla="*/ 92681 h 110995"/>
                  <a:gd name="connsiteX19" fmla="*/ 71037 w 87686"/>
                  <a:gd name="connsiteY19" fmla="*/ 77142 h 110995"/>
                  <a:gd name="connsiteX20" fmla="*/ 76587 w 87686"/>
                  <a:gd name="connsiteY20" fmla="*/ 60492 h 110995"/>
                  <a:gd name="connsiteX21" fmla="*/ 71037 w 87686"/>
                  <a:gd name="connsiteY21" fmla="*/ 45508 h 110995"/>
                  <a:gd name="connsiteX22" fmla="*/ 55498 w 87686"/>
                  <a:gd name="connsiteY22" fmla="*/ 32189 h 110995"/>
                  <a:gd name="connsiteX23" fmla="*/ 46063 w 87686"/>
                  <a:gd name="connsiteY23" fmla="*/ 24419 h 110995"/>
                  <a:gd name="connsiteX24" fmla="*/ 43288 w 87686"/>
                  <a:gd name="connsiteY24" fmla="*/ 19424 h 110995"/>
                  <a:gd name="connsiteX25" fmla="*/ 47173 w 87686"/>
                  <a:gd name="connsiteY25" fmla="*/ 14429 h 110995"/>
                  <a:gd name="connsiteX26" fmla="*/ 57162 w 87686"/>
                  <a:gd name="connsiteY26" fmla="*/ 12764 h 110995"/>
                  <a:gd name="connsiteX27" fmla="*/ 61047 w 87686"/>
                  <a:gd name="connsiteY27" fmla="*/ 13319 h 110995"/>
                  <a:gd name="connsiteX28" fmla="*/ 62157 w 87686"/>
                  <a:gd name="connsiteY28" fmla="*/ 14429 h 110995"/>
                  <a:gd name="connsiteX29" fmla="*/ 61047 w 87686"/>
                  <a:gd name="connsiteY29" fmla="*/ 16094 h 110995"/>
                  <a:gd name="connsiteX30" fmla="*/ 59937 w 87686"/>
                  <a:gd name="connsiteY30" fmla="*/ 17759 h 110995"/>
                  <a:gd name="connsiteX31" fmla="*/ 64932 w 87686"/>
                  <a:gd name="connsiteY31" fmla="*/ 22754 h 110995"/>
                  <a:gd name="connsiteX32" fmla="*/ 81026 w 87686"/>
                  <a:gd name="connsiteY32" fmla="*/ 38848 h 110995"/>
                  <a:gd name="connsiteX33" fmla="*/ 87686 w 87686"/>
                  <a:gd name="connsiteY33" fmla="*/ 58272 h 110995"/>
                  <a:gd name="connsiteX34" fmla="*/ 81026 w 87686"/>
                  <a:gd name="connsiteY34" fmla="*/ 81026 h 110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686" h="110995">
                    <a:moveTo>
                      <a:pt x="81026" y="81026"/>
                    </a:moveTo>
                    <a:cubicBezTo>
                      <a:pt x="76032" y="89351"/>
                      <a:pt x="69372" y="96566"/>
                      <a:pt x="61047" y="102115"/>
                    </a:cubicBezTo>
                    <a:cubicBezTo>
                      <a:pt x="52168" y="108220"/>
                      <a:pt x="42733" y="110995"/>
                      <a:pt x="31633" y="110995"/>
                    </a:cubicBezTo>
                    <a:cubicBezTo>
                      <a:pt x="20534" y="110995"/>
                      <a:pt x="12764" y="108220"/>
                      <a:pt x="7770" y="102115"/>
                    </a:cubicBezTo>
                    <a:cubicBezTo>
                      <a:pt x="2775" y="96011"/>
                      <a:pt x="0" y="88796"/>
                      <a:pt x="0" y="79916"/>
                    </a:cubicBezTo>
                    <a:cubicBezTo>
                      <a:pt x="0" y="72147"/>
                      <a:pt x="1665" y="62712"/>
                      <a:pt x="4440" y="51058"/>
                    </a:cubicBezTo>
                    <a:cubicBezTo>
                      <a:pt x="7215" y="39403"/>
                      <a:pt x="11100" y="29414"/>
                      <a:pt x="16649" y="19979"/>
                    </a:cubicBezTo>
                    <a:cubicBezTo>
                      <a:pt x="17204" y="19424"/>
                      <a:pt x="18314" y="17204"/>
                      <a:pt x="20534" y="12764"/>
                    </a:cubicBezTo>
                    <a:cubicBezTo>
                      <a:pt x="22754" y="8880"/>
                      <a:pt x="25529" y="5550"/>
                      <a:pt x="28304" y="3330"/>
                    </a:cubicBezTo>
                    <a:cubicBezTo>
                      <a:pt x="31078" y="1110"/>
                      <a:pt x="34408" y="0"/>
                      <a:pt x="37738" y="0"/>
                    </a:cubicBezTo>
                    <a:cubicBezTo>
                      <a:pt x="39403" y="0"/>
                      <a:pt x="40513" y="555"/>
                      <a:pt x="41623" y="1110"/>
                    </a:cubicBezTo>
                    <a:cubicBezTo>
                      <a:pt x="42733" y="1665"/>
                      <a:pt x="43288" y="2775"/>
                      <a:pt x="43288" y="3885"/>
                    </a:cubicBezTo>
                    <a:cubicBezTo>
                      <a:pt x="43288" y="4440"/>
                      <a:pt x="42733" y="4995"/>
                      <a:pt x="42178" y="6105"/>
                    </a:cubicBezTo>
                    <a:cubicBezTo>
                      <a:pt x="41068" y="7215"/>
                      <a:pt x="40513" y="8325"/>
                      <a:pt x="39958" y="8880"/>
                    </a:cubicBezTo>
                    <a:cubicBezTo>
                      <a:pt x="34408" y="15539"/>
                      <a:pt x="29969" y="22199"/>
                      <a:pt x="26639" y="28304"/>
                    </a:cubicBezTo>
                    <a:cubicBezTo>
                      <a:pt x="22199" y="36628"/>
                      <a:pt x="18314" y="44953"/>
                      <a:pt x="16094" y="52723"/>
                    </a:cubicBezTo>
                    <a:cubicBezTo>
                      <a:pt x="13319" y="61047"/>
                      <a:pt x="12209" y="69927"/>
                      <a:pt x="12209" y="79362"/>
                    </a:cubicBezTo>
                    <a:cubicBezTo>
                      <a:pt x="12209" y="92126"/>
                      <a:pt x="19979" y="98786"/>
                      <a:pt x="35518" y="98786"/>
                    </a:cubicBezTo>
                    <a:cubicBezTo>
                      <a:pt x="42733" y="98786"/>
                      <a:pt x="49393" y="96566"/>
                      <a:pt x="56052" y="92681"/>
                    </a:cubicBezTo>
                    <a:cubicBezTo>
                      <a:pt x="62157" y="88241"/>
                      <a:pt x="67152" y="83246"/>
                      <a:pt x="71037" y="77142"/>
                    </a:cubicBezTo>
                    <a:cubicBezTo>
                      <a:pt x="74922" y="71037"/>
                      <a:pt x="76587" y="65487"/>
                      <a:pt x="76587" y="60492"/>
                    </a:cubicBezTo>
                    <a:cubicBezTo>
                      <a:pt x="76587" y="54943"/>
                      <a:pt x="74922" y="49948"/>
                      <a:pt x="71037" y="45508"/>
                    </a:cubicBezTo>
                    <a:cubicBezTo>
                      <a:pt x="67152" y="41068"/>
                      <a:pt x="62157" y="36628"/>
                      <a:pt x="55498" y="32189"/>
                    </a:cubicBezTo>
                    <a:cubicBezTo>
                      <a:pt x="51058" y="28859"/>
                      <a:pt x="48283" y="26639"/>
                      <a:pt x="46063" y="24419"/>
                    </a:cubicBezTo>
                    <a:cubicBezTo>
                      <a:pt x="43843" y="22754"/>
                      <a:pt x="43288" y="21089"/>
                      <a:pt x="43288" y="19424"/>
                    </a:cubicBezTo>
                    <a:cubicBezTo>
                      <a:pt x="43288" y="17204"/>
                      <a:pt x="44398" y="16094"/>
                      <a:pt x="47173" y="14429"/>
                    </a:cubicBezTo>
                    <a:cubicBezTo>
                      <a:pt x="49948" y="13319"/>
                      <a:pt x="53278" y="12764"/>
                      <a:pt x="57162" y="12764"/>
                    </a:cubicBezTo>
                    <a:cubicBezTo>
                      <a:pt x="59382" y="12764"/>
                      <a:pt x="60492" y="12764"/>
                      <a:pt x="61047" y="13319"/>
                    </a:cubicBezTo>
                    <a:cubicBezTo>
                      <a:pt x="61602" y="13319"/>
                      <a:pt x="62157" y="13874"/>
                      <a:pt x="62157" y="14429"/>
                    </a:cubicBezTo>
                    <a:cubicBezTo>
                      <a:pt x="62157" y="14984"/>
                      <a:pt x="61602" y="15539"/>
                      <a:pt x="61047" y="16094"/>
                    </a:cubicBezTo>
                    <a:cubicBezTo>
                      <a:pt x="60492" y="16649"/>
                      <a:pt x="59937" y="17204"/>
                      <a:pt x="59937" y="17759"/>
                    </a:cubicBezTo>
                    <a:cubicBezTo>
                      <a:pt x="59937" y="18314"/>
                      <a:pt x="61602" y="19979"/>
                      <a:pt x="64932" y="22754"/>
                    </a:cubicBezTo>
                    <a:cubicBezTo>
                      <a:pt x="71592" y="28304"/>
                      <a:pt x="76587" y="33299"/>
                      <a:pt x="81026" y="38848"/>
                    </a:cubicBezTo>
                    <a:cubicBezTo>
                      <a:pt x="85466" y="44398"/>
                      <a:pt x="87686" y="51058"/>
                      <a:pt x="87686" y="58272"/>
                    </a:cubicBezTo>
                    <a:cubicBezTo>
                      <a:pt x="87686" y="65487"/>
                      <a:pt x="85466" y="72702"/>
                      <a:pt x="81026" y="81026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08444EF6-CCD4-4D06-87E1-81EDB4B86FD5}"/>
                  </a:ext>
                </a:extLst>
              </p:cNvPr>
              <p:cNvSpPr/>
              <p:nvPr/>
            </p:nvSpPr>
            <p:spPr>
              <a:xfrm>
                <a:off x="6163706" y="3859105"/>
                <a:ext cx="101005" cy="120984"/>
              </a:xfrm>
              <a:custGeom>
                <a:avLst/>
                <a:gdLst>
                  <a:gd name="connsiteX0" fmla="*/ 98786 w 101005"/>
                  <a:gd name="connsiteY0" fmla="*/ 118765 h 120984"/>
                  <a:gd name="connsiteX1" fmla="*/ 92681 w 101005"/>
                  <a:gd name="connsiteY1" fmla="*/ 120985 h 120984"/>
                  <a:gd name="connsiteX2" fmla="*/ 83801 w 101005"/>
                  <a:gd name="connsiteY2" fmla="*/ 110995 h 120984"/>
                  <a:gd name="connsiteX3" fmla="*/ 78806 w 101005"/>
                  <a:gd name="connsiteY3" fmla="*/ 89906 h 120984"/>
                  <a:gd name="connsiteX4" fmla="*/ 77142 w 101005"/>
                  <a:gd name="connsiteY4" fmla="*/ 47728 h 120984"/>
                  <a:gd name="connsiteX5" fmla="*/ 77142 w 101005"/>
                  <a:gd name="connsiteY5" fmla="*/ 37183 h 120984"/>
                  <a:gd name="connsiteX6" fmla="*/ 77142 w 101005"/>
                  <a:gd name="connsiteY6" fmla="*/ 28304 h 120984"/>
                  <a:gd name="connsiteX7" fmla="*/ 57717 w 101005"/>
                  <a:gd name="connsiteY7" fmla="*/ 66597 h 120984"/>
                  <a:gd name="connsiteX8" fmla="*/ 33299 w 101005"/>
                  <a:gd name="connsiteY8" fmla="*/ 103225 h 120984"/>
                  <a:gd name="connsiteX9" fmla="*/ 13319 w 101005"/>
                  <a:gd name="connsiteY9" fmla="*/ 118765 h 120984"/>
                  <a:gd name="connsiteX10" fmla="*/ 2775 w 101005"/>
                  <a:gd name="connsiteY10" fmla="*/ 110440 h 120984"/>
                  <a:gd name="connsiteX11" fmla="*/ 0 w 101005"/>
                  <a:gd name="connsiteY11" fmla="*/ 83246 h 120984"/>
                  <a:gd name="connsiteX12" fmla="*/ 4440 w 101005"/>
                  <a:gd name="connsiteY12" fmla="*/ 43843 h 120984"/>
                  <a:gd name="connsiteX13" fmla="*/ 14984 w 101005"/>
                  <a:gd name="connsiteY13" fmla="*/ 10545 h 120984"/>
                  <a:gd name="connsiteX14" fmla="*/ 18869 w 101005"/>
                  <a:gd name="connsiteY14" fmla="*/ 3330 h 120984"/>
                  <a:gd name="connsiteX15" fmla="*/ 22754 w 101005"/>
                  <a:gd name="connsiteY15" fmla="*/ 1665 h 120984"/>
                  <a:gd name="connsiteX16" fmla="*/ 28859 w 101005"/>
                  <a:gd name="connsiteY16" fmla="*/ 3885 h 120984"/>
                  <a:gd name="connsiteX17" fmla="*/ 26639 w 101005"/>
                  <a:gd name="connsiteY17" fmla="*/ 9435 h 120984"/>
                  <a:gd name="connsiteX18" fmla="*/ 14984 w 101005"/>
                  <a:gd name="connsiteY18" fmla="*/ 38848 h 120984"/>
                  <a:gd name="connsiteX19" fmla="*/ 9989 w 101005"/>
                  <a:gd name="connsiteY19" fmla="*/ 84356 h 120984"/>
                  <a:gd name="connsiteX20" fmla="*/ 15539 w 101005"/>
                  <a:gd name="connsiteY20" fmla="*/ 103780 h 120984"/>
                  <a:gd name="connsiteX21" fmla="*/ 32744 w 101005"/>
                  <a:gd name="connsiteY21" fmla="*/ 89906 h 120984"/>
                  <a:gd name="connsiteX22" fmla="*/ 54388 w 101005"/>
                  <a:gd name="connsiteY22" fmla="*/ 56607 h 120984"/>
                  <a:gd name="connsiteX23" fmla="*/ 70482 w 101005"/>
                  <a:gd name="connsiteY23" fmla="*/ 22754 h 120984"/>
                  <a:gd name="connsiteX24" fmla="*/ 74922 w 101005"/>
                  <a:gd name="connsiteY24" fmla="*/ 7770 h 120984"/>
                  <a:gd name="connsiteX25" fmla="*/ 76587 w 101005"/>
                  <a:gd name="connsiteY25" fmla="*/ 1665 h 120984"/>
                  <a:gd name="connsiteX26" fmla="*/ 78251 w 101005"/>
                  <a:gd name="connsiteY26" fmla="*/ 0 h 120984"/>
                  <a:gd name="connsiteX27" fmla="*/ 83801 w 101005"/>
                  <a:gd name="connsiteY27" fmla="*/ 2220 h 120984"/>
                  <a:gd name="connsiteX28" fmla="*/ 87131 w 101005"/>
                  <a:gd name="connsiteY28" fmla="*/ 6660 h 120984"/>
                  <a:gd name="connsiteX29" fmla="*/ 88241 w 101005"/>
                  <a:gd name="connsiteY29" fmla="*/ 46618 h 120984"/>
                  <a:gd name="connsiteX30" fmla="*/ 90461 w 101005"/>
                  <a:gd name="connsiteY30" fmla="*/ 86021 h 120984"/>
                  <a:gd name="connsiteX31" fmla="*/ 93791 w 101005"/>
                  <a:gd name="connsiteY31" fmla="*/ 101006 h 120984"/>
                  <a:gd name="connsiteX32" fmla="*/ 98786 w 101005"/>
                  <a:gd name="connsiteY32" fmla="*/ 109330 h 120984"/>
                  <a:gd name="connsiteX33" fmla="*/ 101005 w 101005"/>
                  <a:gd name="connsiteY33" fmla="*/ 113215 h 120984"/>
                  <a:gd name="connsiteX34" fmla="*/ 98786 w 101005"/>
                  <a:gd name="connsiteY34" fmla="*/ 118765 h 120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005" h="120984">
                    <a:moveTo>
                      <a:pt x="98786" y="118765"/>
                    </a:moveTo>
                    <a:cubicBezTo>
                      <a:pt x="97121" y="120430"/>
                      <a:pt x="95456" y="120985"/>
                      <a:pt x="92681" y="120985"/>
                    </a:cubicBezTo>
                    <a:cubicBezTo>
                      <a:pt x="89351" y="120985"/>
                      <a:pt x="86576" y="117655"/>
                      <a:pt x="83801" y="110995"/>
                    </a:cubicBezTo>
                    <a:cubicBezTo>
                      <a:pt x="81026" y="104335"/>
                      <a:pt x="79361" y="97121"/>
                      <a:pt x="78806" y="89906"/>
                    </a:cubicBezTo>
                    <a:cubicBezTo>
                      <a:pt x="78251" y="82691"/>
                      <a:pt x="77697" y="68817"/>
                      <a:pt x="77142" y="47728"/>
                    </a:cubicBezTo>
                    <a:cubicBezTo>
                      <a:pt x="77142" y="44398"/>
                      <a:pt x="77142" y="41068"/>
                      <a:pt x="77142" y="37183"/>
                    </a:cubicBezTo>
                    <a:cubicBezTo>
                      <a:pt x="77142" y="33854"/>
                      <a:pt x="77142" y="30524"/>
                      <a:pt x="77142" y="28304"/>
                    </a:cubicBezTo>
                    <a:cubicBezTo>
                      <a:pt x="72702" y="39403"/>
                      <a:pt x="66042" y="52168"/>
                      <a:pt x="57717" y="66597"/>
                    </a:cubicBezTo>
                    <a:cubicBezTo>
                      <a:pt x="49393" y="81026"/>
                      <a:pt x="41623" y="93236"/>
                      <a:pt x="33299" y="103225"/>
                    </a:cubicBezTo>
                    <a:cubicBezTo>
                      <a:pt x="24974" y="113215"/>
                      <a:pt x="18314" y="118765"/>
                      <a:pt x="13319" y="118765"/>
                    </a:cubicBezTo>
                    <a:cubicBezTo>
                      <a:pt x="7770" y="118765"/>
                      <a:pt x="4440" y="115990"/>
                      <a:pt x="2775" y="110440"/>
                    </a:cubicBezTo>
                    <a:cubicBezTo>
                      <a:pt x="1110" y="104890"/>
                      <a:pt x="0" y="96011"/>
                      <a:pt x="0" y="83246"/>
                    </a:cubicBezTo>
                    <a:cubicBezTo>
                      <a:pt x="0" y="71592"/>
                      <a:pt x="1665" y="58827"/>
                      <a:pt x="4440" y="43843"/>
                    </a:cubicBezTo>
                    <a:cubicBezTo>
                      <a:pt x="7215" y="29414"/>
                      <a:pt x="11100" y="18314"/>
                      <a:pt x="14984" y="10545"/>
                    </a:cubicBezTo>
                    <a:cubicBezTo>
                      <a:pt x="16649" y="7215"/>
                      <a:pt x="17759" y="4995"/>
                      <a:pt x="18869" y="3330"/>
                    </a:cubicBezTo>
                    <a:cubicBezTo>
                      <a:pt x="19979" y="2220"/>
                      <a:pt x="21089" y="1665"/>
                      <a:pt x="22754" y="1665"/>
                    </a:cubicBezTo>
                    <a:cubicBezTo>
                      <a:pt x="26639" y="1665"/>
                      <a:pt x="28859" y="2220"/>
                      <a:pt x="28859" y="3885"/>
                    </a:cubicBezTo>
                    <a:cubicBezTo>
                      <a:pt x="28859" y="4440"/>
                      <a:pt x="28304" y="6660"/>
                      <a:pt x="26639" y="9435"/>
                    </a:cubicBezTo>
                    <a:cubicBezTo>
                      <a:pt x="22199" y="17759"/>
                      <a:pt x="18314" y="27194"/>
                      <a:pt x="14984" y="38848"/>
                    </a:cubicBezTo>
                    <a:cubicBezTo>
                      <a:pt x="11654" y="49948"/>
                      <a:pt x="9989" y="65487"/>
                      <a:pt x="9989" y="84356"/>
                    </a:cubicBezTo>
                    <a:cubicBezTo>
                      <a:pt x="9989" y="97121"/>
                      <a:pt x="11654" y="103780"/>
                      <a:pt x="15539" y="103780"/>
                    </a:cubicBezTo>
                    <a:cubicBezTo>
                      <a:pt x="19979" y="103780"/>
                      <a:pt x="25529" y="99341"/>
                      <a:pt x="32744" y="89906"/>
                    </a:cubicBezTo>
                    <a:cubicBezTo>
                      <a:pt x="39958" y="80471"/>
                      <a:pt x="47173" y="69372"/>
                      <a:pt x="54388" y="56607"/>
                    </a:cubicBezTo>
                    <a:cubicBezTo>
                      <a:pt x="61602" y="43843"/>
                      <a:pt x="67152" y="32189"/>
                      <a:pt x="70482" y="22754"/>
                    </a:cubicBezTo>
                    <a:cubicBezTo>
                      <a:pt x="71592" y="19424"/>
                      <a:pt x="73257" y="14429"/>
                      <a:pt x="74922" y="7770"/>
                    </a:cubicBezTo>
                    <a:cubicBezTo>
                      <a:pt x="75477" y="4995"/>
                      <a:pt x="76032" y="2775"/>
                      <a:pt x="76587" y="1665"/>
                    </a:cubicBezTo>
                    <a:cubicBezTo>
                      <a:pt x="77142" y="555"/>
                      <a:pt x="77697" y="0"/>
                      <a:pt x="78251" y="0"/>
                    </a:cubicBezTo>
                    <a:cubicBezTo>
                      <a:pt x="79916" y="0"/>
                      <a:pt x="82136" y="555"/>
                      <a:pt x="83801" y="2220"/>
                    </a:cubicBezTo>
                    <a:cubicBezTo>
                      <a:pt x="86021" y="3885"/>
                      <a:pt x="87131" y="4995"/>
                      <a:pt x="87131" y="6660"/>
                    </a:cubicBezTo>
                    <a:cubicBezTo>
                      <a:pt x="87131" y="14429"/>
                      <a:pt x="87686" y="27749"/>
                      <a:pt x="88241" y="46618"/>
                    </a:cubicBezTo>
                    <a:cubicBezTo>
                      <a:pt x="88796" y="65487"/>
                      <a:pt x="89351" y="78807"/>
                      <a:pt x="90461" y="86021"/>
                    </a:cubicBezTo>
                    <a:cubicBezTo>
                      <a:pt x="91016" y="92126"/>
                      <a:pt x="92126" y="97121"/>
                      <a:pt x="93791" y="101006"/>
                    </a:cubicBezTo>
                    <a:cubicBezTo>
                      <a:pt x="95456" y="104335"/>
                      <a:pt x="97121" y="107110"/>
                      <a:pt x="98786" y="109330"/>
                    </a:cubicBezTo>
                    <a:cubicBezTo>
                      <a:pt x="100450" y="111550"/>
                      <a:pt x="101005" y="112660"/>
                      <a:pt x="101005" y="113215"/>
                    </a:cubicBezTo>
                    <a:cubicBezTo>
                      <a:pt x="101005" y="115435"/>
                      <a:pt x="100450" y="117655"/>
                      <a:pt x="98786" y="118765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CFF2555-6839-4D51-8D12-64CE54B3393F}"/>
                  </a:ext>
                </a:extLst>
              </p:cNvPr>
              <p:cNvSpPr/>
              <p:nvPr/>
            </p:nvSpPr>
            <p:spPr>
              <a:xfrm>
                <a:off x="6288021" y="3857995"/>
                <a:ext cx="79916" cy="123204"/>
              </a:xfrm>
              <a:custGeom>
                <a:avLst/>
                <a:gdLst>
                  <a:gd name="connsiteX0" fmla="*/ 77142 w 79916"/>
                  <a:gd name="connsiteY0" fmla="*/ 20534 h 123204"/>
                  <a:gd name="connsiteX1" fmla="*/ 72147 w 79916"/>
                  <a:gd name="connsiteY1" fmla="*/ 23309 h 123204"/>
                  <a:gd name="connsiteX2" fmla="*/ 68817 w 79916"/>
                  <a:gd name="connsiteY2" fmla="*/ 21644 h 123204"/>
                  <a:gd name="connsiteX3" fmla="*/ 65487 w 79916"/>
                  <a:gd name="connsiteY3" fmla="*/ 17759 h 123204"/>
                  <a:gd name="connsiteX4" fmla="*/ 61047 w 79916"/>
                  <a:gd name="connsiteY4" fmla="*/ 13874 h 123204"/>
                  <a:gd name="connsiteX5" fmla="*/ 55498 w 79916"/>
                  <a:gd name="connsiteY5" fmla="*/ 12209 h 123204"/>
                  <a:gd name="connsiteX6" fmla="*/ 36628 w 79916"/>
                  <a:gd name="connsiteY6" fmla="*/ 31079 h 123204"/>
                  <a:gd name="connsiteX7" fmla="*/ 13319 w 79916"/>
                  <a:gd name="connsiteY7" fmla="*/ 77697 h 123204"/>
                  <a:gd name="connsiteX8" fmla="*/ 14429 w 79916"/>
                  <a:gd name="connsiteY8" fmla="*/ 91571 h 123204"/>
                  <a:gd name="connsiteX9" fmla="*/ 15539 w 79916"/>
                  <a:gd name="connsiteY9" fmla="*/ 104335 h 123204"/>
                  <a:gd name="connsiteX10" fmla="*/ 16094 w 79916"/>
                  <a:gd name="connsiteY10" fmla="*/ 114325 h 123204"/>
                  <a:gd name="connsiteX11" fmla="*/ 14429 w 79916"/>
                  <a:gd name="connsiteY11" fmla="*/ 120430 h 123204"/>
                  <a:gd name="connsiteX12" fmla="*/ 8880 w 79916"/>
                  <a:gd name="connsiteY12" fmla="*/ 123205 h 123204"/>
                  <a:gd name="connsiteX13" fmla="*/ 3330 w 79916"/>
                  <a:gd name="connsiteY13" fmla="*/ 112105 h 123204"/>
                  <a:gd name="connsiteX14" fmla="*/ 1665 w 79916"/>
                  <a:gd name="connsiteY14" fmla="*/ 79916 h 123204"/>
                  <a:gd name="connsiteX15" fmla="*/ 1110 w 79916"/>
                  <a:gd name="connsiteY15" fmla="*/ 64377 h 123204"/>
                  <a:gd name="connsiteX16" fmla="*/ 555 w 79916"/>
                  <a:gd name="connsiteY16" fmla="*/ 40513 h 123204"/>
                  <a:gd name="connsiteX17" fmla="*/ 0 w 79916"/>
                  <a:gd name="connsiteY17" fmla="*/ 10545 h 123204"/>
                  <a:gd name="connsiteX18" fmla="*/ 6660 w 79916"/>
                  <a:gd name="connsiteY18" fmla="*/ 4995 h 123204"/>
                  <a:gd name="connsiteX19" fmla="*/ 11655 w 79916"/>
                  <a:gd name="connsiteY19" fmla="*/ 8325 h 123204"/>
                  <a:gd name="connsiteX20" fmla="*/ 12764 w 79916"/>
                  <a:gd name="connsiteY20" fmla="*/ 21644 h 123204"/>
                  <a:gd name="connsiteX21" fmla="*/ 12764 w 79916"/>
                  <a:gd name="connsiteY21" fmla="*/ 60492 h 123204"/>
                  <a:gd name="connsiteX22" fmla="*/ 28304 w 79916"/>
                  <a:gd name="connsiteY22" fmla="*/ 28304 h 123204"/>
                  <a:gd name="connsiteX23" fmla="*/ 44953 w 79916"/>
                  <a:gd name="connsiteY23" fmla="*/ 7215 h 123204"/>
                  <a:gd name="connsiteX24" fmla="*/ 59382 w 79916"/>
                  <a:gd name="connsiteY24" fmla="*/ 0 h 123204"/>
                  <a:gd name="connsiteX25" fmla="*/ 69372 w 79916"/>
                  <a:gd name="connsiteY25" fmla="*/ 2220 h 123204"/>
                  <a:gd name="connsiteX26" fmla="*/ 77142 w 79916"/>
                  <a:gd name="connsiteY26" fmla="*/ 8325 h 123204"/>
                  <a:gd name="connsiteX27" fmla="*/ 79916 w 79916"/>
                  <a:gd name="connsiteY27" fmla="*/ 15539 h 123204"/>
                  <a:gd name="connsiteX28" fmla="*/ 77142 w 79916"/>
                  <a:gd name="connsiteY28" fmla="*/ 20534 h 12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916" h="123204">
                    <a:moveTo>
                      <a:pt x="77142" y="20534"/>
                    </a:moveTo>
                    <a:cubicBezTo>
                      <a:pt x="74922" y="22199"/>
                      <a:pt x="73257" y="23309"/>
                      <a:pt x="72147" y="23309"/>
                    </a:cubicBezTo>
                    <a:cubicBezTo>
                      <a:pt x="71037" y="23309"/>
                      <a:pt x="69927" y="22754"/>
                      <a:pt x="68817" y="21644"/>
                    </a:cubicBezTo>
                    <a:cubicBezTo>
                      <a:pt x="67707" y="20534"/>
                      <a:pt x="66597" y="19424"/>
                      <a:pt x="65487" y="17759"/>
                    </a:cubicBezTo>
                    <a:cubicBezTo>
                      <a:pt x="64377" y="16094"/>
                      <a:pt x="62712" y="14984"/>
                      <a:pt x="61047" y="13874"/>
                    </a:cubicBezTo>
                    <a:cubicBezTo>
                      <a:pt x="59382" y="12764"/>
                      <a:pt x="57162" y="12209"/>
                      <a:pt x="55498" y="12209"/>
                    </a:cubicBezTo>
                    <a:cubicBezTo>
                      <a:pt x="51058" y="12209"/>
                      <a:pt x="44398" y="18314"/>
                      <a:pt x="36628" y="31079"/>
                    </a:cubicBezTo>
                    <a:cubicBezTo>
                      <a:pt x="28859" y="43288"/>
                      <a:pt x="21089" y="59382"/>
                      <a:pt x="13319" y="77697"/>
                    </a:cubicBezTo>
                    <a:cubicBezTo>
                      <a:pt x="13319" y="81581"/>
                      <a:pt x="13874" y="86021"/>
                      <a:pt x="14429" y="91571"/>
                    </a:cubicBezTo>
                    <a:cubicBezTo>
                      <a:pt x="14984" y="97121"/>
                      <a:pt x="14984" y="101561"/>
                      <a:pt x="15539" y="104335"/>
                    </a:cubicBezTo>
                    <a:lnTo>
                      <a:pt x="16094" y="114325"/>
                    </a:lnTo>
                    <a:cubicBezTo>
                      <a:pt x="16094" y="116545"/>
                      <a:pt x="15539" y="118765"/>
                      <a:pt x="14429" y="120430"/>
                    </a:cubicBezTo>
                    <a:cubicBezTo>
                      <a:pt x="13319" y="122095"/>
                      <a:pt x="11655" y="123205"/>
                      <a:pt x="8880" y="123205"/>
                    </a:cubicBezTo>
                    <a:cubicBezTo>
                      <a:pt x="6105" y="123205"/>
                      <a:pt x="4440" y="119320"/>
                      <a:pt x="3330" y="112105"/>
                    </a:cubicBezTo>
                    <a:cubicBezTo>
                      <a:pt x="2775" y="104890"/>
                      <a:pt x="2220" y="93791"/>
                      <a:pt x="1665" y="79916"/>
                    </a:cubicBezTo>
                    <a:cubicBezTo>
                      <a:pt x="1665" y="76587"/>
                      <a:pt x="1110" y="71037"/>
                      <a:pt x="1110" y="64377"/>
                    </a:cubicBezTo>
                    <a:cubicBezTo>
                      <a:pt x="1110" y="57717"/>
                      <a:pt x="555" y="49948"/>
                      <a:pt x="555" y="40513"/>
                    </a:cubicBezTo>
                    <a:cubicBezTo>
                      <a:pt x="0" y="26639"/>
                      <a:pt x="0" y="16649"/>
                      <a:pt x="0" y="10545"/>
                    </a:cubicBezTo>
                    <a:cubicBezTo>
                      <a:pt x="0" y="6660"/>
                      <a:pt x="2220" y="4995"/>
                      <a:pt x="6660" y="4995"/>
                    </a:cubicBezTo>
                    <a:cubicBezTo>
                      <a:pt x="9434" y="4995"/>
                      <a:pt x="11100" y="6105"/>
                      <a:pt x="11655" y="8325"/>
                    </a:cubicBezTo>
                    <a:cubicBezTo>
                      <a:pt x="12209" y="10545"/>
                      <a:pt x="12764" y="14984"/>
                      <a:pt x="12764" y="21644"/>
                    </a:cubicBezTo>
                    <a:lnTo>
                      <a:pt x="12764" y="60492"/>
                    </a:lnTo>
                    <a:cubicBezTo>
                      <a:pt x="17759" y="48283"/>
                      <a:pt x="22754" y="37183"/>
                      <a:pt x="28304" y="28304"/>
                    </a:cubicBezTo>
                    <a:cubicBezTo>
                      <a:pt x="33854" y="19424"/>
                      <a:pt x="39403" y="12209"/>
                      <a:pt x="44953" y="7215"/>
                    </a:cubicBezTo>
                    <a:cubicBezTo>
                      <a:pt x="50503" y="2220"/>
                      <a:pt x="55498" y="0"/>
                      <a:pt x="59382" y="0"/>
                    </a:cubicBezTo>
                    <a:cubicBezTo>
                      <a:pt x="62712" y="0"/>
                      <a:pt x="66597" y="555"/>
                      <a:pt x="69372" y="2220"/>
                    </a:cubicBezTo>
                    <a:cubicBezTo>
                      <a:pt x="72702" y="3885"/>
                      <a:pt x="75477" y="6105"/>
                      <a:pt x="77142" y="8325"/>
                    </a:cubicBezTo>
                    <a:cubicBezTo>
                      <a:pt x="79361" y="11100"/>
                      <a:pt x="79916" y="13319"/>
                      <a:pt x="79916" y="15539"/>
                    </a:cubicBezTo>
                    <a:cubicBezTo>
                      <a:pt x="79916" y="17204"/>
                      <a:pt x="78806" y="18869"/>
                      <a:pt x="77142" y="20534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34F9369B-4BE2-4DE3-8C71-5E7F56C4B1DE}"/>
                  </a:ext>
                </a:extLst>
              </p:cNvPr>
              <p:cNvSpPr/>
              <p:nvPr/>
            </p:nvSpPr>
            <p:spPr>
              <a:xfrm>
                <a:off x="6453958" y="3797503"/>
                <a:ext cx="104928" cy="180367"/>
              </a:xfrm>
              <a:custGeom>
                <a:avLst/>
                <a:gdLst>
                  <a:gd name="connsiteX0" fmla="*/ 89351 w 104928"/>
                  <a:gd name="connsiteY0" fmla="*/ 129309 h 180367"/>
                  <a:gd name="connsiteX1" fmla="*/ 47173 w 104928"/>
                  <a:gd name="connsiteY1" fmla="*/ 172597 h 180367"/>
                  <a:gd name="connsiteX2" fmla="*/ 31079 w 104928"/>
                  <a:gd name="connsiteY2" fmla="*/ 180367 h 180367"/>
                  <a:gd name="connsiteX3" fmla="*/ 26639 w 104928"/>
                  <a:gd name="connsiteY3" fmla="*/ 178702 h 180367"/>
                  <a:gd name="connsiteX4" fmla="*/ 24974 w 104928"/>
                  <a:gd name="connsiteY4" fmla="*/ 174262 h 180367"/>
                  <a:gd name="connsiteX5" fmla="*/ 27194 w 104928"/>
                  <a:gd name="connsiteY5" fmla="*/ 168713 h 180367"/>
                  <a:gd name="connsiteX6" fmla="*/ 34409 w 104928"/>
                  <a:gd name="connsiteY6" fmla="*/ 164273 h 180367"/>
                  <a:gd name="connsiteX7" fmla="*/ 64932 w 104928"/>
                  <a:gd name="connsiteY7" fmla="*/ 143184 h 180367"/>
                  <a:gd name="connsiteX8" fmla="*/ 86576 w 104928"/>
                  <a:gd name="connsiteY8" fmla="*/ 114325 h 180367"/>
                  <a:gd name="connsiteX9" fmla="*/ 94346 w 104928"/>
                  <a:gd name="connsiteY9" fmla="*/ 87131 h 180367"/>
                  <a:gd name="connsiteX10" fmla="*/ 92126 w 104928"/>
                  <a:gd name="connsiteY10" fmla="*/ 79917 h 180367"/>
                  <a:gd name="connsiteX11" fmla="*/ 85466 w 104928"/>
                  <a:gd name="connsiteY11" fmla="*/ 77697 h 180367"/>
                  <a:gd name="connsiteX12" fmla="*/ 64377 w 104928"/>
                  <a:gd name="connsiteY12" fmla="*/ 86021 h 180367"/>
                  <a:gd name="connsiteX13" fmla="*/ 44398 w 104928"/>
                  <a:gd name="connsiteY13" fmla="*/ 107665 h 180367"/>
                  <a:gd name="connsiteX14" fmla="*/ 30524 w 104928"/>
                  <a:gd name="connsiteY14" fmla="*/ 132084 h 180367"/>
                  <a:gd name="connsiteX15" fmla="*/ 20534 w 104928"/>
                  <a:gd name="connsiteY15" fmla="*/ 162608 h 180367"/>
                  <a:gd name="connsiteX16" fmla="*/ 12210 w 104928"/>
                  <a:gd name="connsiteY16" fmla="*/ 170932 h 180367"/>
                  <a:gd name="connsiteX17" fmla="*/ 8325 w 104928"/>
                  <a:gd name="connsiteY17" fmla="*/ 168158 h 180367"/>
                  <a:gd name="connsiteX18" fmla="*/ 6105 w 104928"/>
                  <a:gd name="connsiteY18" fmla="*/ 162608 h 180367"/>
                  <a:gd name="connsiteX19" fmla="*/ 3885 w 104928"/>
                  <a:gd name="connsiteY19" fmla="*/ 79362 h 180367"/>
                  <a:gd name="connsiteX20" fmla="*/ 1110 w 104928"/>
                  <a:gd name="connsiteY20" fmla="*/ 16649 h 180367"/>
                  <a:gd name="connsiteX21" fmla="*/ 1110 w 104928"/>
                  <a:gd name="connsiteY21" fmla="*/ 13874 h 180367"/>
                  <a:gd name="connsiteX22" fmla="*/ 555 w 104928"/>
                  <a:gd name="connsiteY22" fmla="*/ 11100 h 180367"/>
                  <a:gd name="connsiteX23" fmla="*/ 0 w 104928"/>
                  <a:gd name="connsiteY23" fmla="*/ 8325 h 180367"/>
                  <a:gd name="connsiteX24" fmla="*/ 0 w 104928"/>
                  <a:gd name="connsiteY24" fmla="*/ 5550 h 180367"/>
                  <a:gd name="connsiteX25" fmla="*/ 4995 w 104928"/>
                  <a:gd name="connsiteY25" fmla="*/ 0 h 180367"/>
                  <a:gd name="connsiteX26" fmla="*/ 11655 w 104928"/>
                  <a:gd name="connsiteY26" fmla="*/ 4995 h 180367"/>
                  <a:gd name="connsiteX27" fmla="*/ 14429 w 104928"/>
                  <a:gd name="connsiteY27" fmla="*/ 16649 h 180367"/>
                  <a:gd name="connsiteX28" fmla="*/ 14429 w 104928"/>
                  <a:gd name="connsiteY28" fmla="*/ 29414 h 180367"/>
                  <a:gd name="connsiteX29" fmla="*/ 16094 w 104928"/>
                  <a:gd name="connsiteY29" fmla="*/ 118765 h 180367"/>
                  <a:gd name="connsiteX30" fmla="*/ 17759 w 104928"/>
                  <a:gd name="connsiteY30" fmla="*/ 135969 h 180367"/>
                  <a:gd name="connsiteX31" fmla="*/ 26084 w 104928"/>
                  <a:gd name="connsiteY31" fmla="*/ 118210 h 180367"/>
                  <a:gd name="connsiteX32" fmla="*/ 38293 w 104928"/>
                  <a:gd name="connsiteY32" fmla="*/ 99896 h 180367"/>
                  <a:gd name="connsiteX33" fmla="*/ 63267 w 104928"/>
                  <a:gd name="connsiteY33" fmla="*/ 74922 h 180367"/>
                  <a:gd name="connsiteX34" fmla="*/ 87686 w 104928"/>
                  <a:gd name="connsiteY34" fmla="*/ 65487 h 180367"/>
                  <a:gd name="connsiteX35" fmla="*/ 99896 w 104928"/>
                  <a:gd name="connsiteY35" fmla="*/ 70482 h 180367"/>
                  <a:gd name="connsiteX36" fmla="*/ 104890 w 104928"/>
                  <a:gd name="connsiteY36" fmla="*/ 84356 h 180367"/>
                  <a:gd name="connsiteX37" fmla="*/ 89351 w 104928"/>
                  <a:gd name="connsiteY37" fmla="*/ 129309 h 1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4928" h="180367">
                    <a:moveTo>
                      <a:pt x="89351" y="129309"/>
                    </a:moveTo>
                    <a:cubicBezTo>
                      <a:pt x="78252" y="145404"/>
                      <a:pt x="64377" y="159833"/>
                      <a:pt x="47173" y="172597"/>
                    </a:cubicBezTo>
                    <a:cubicBezTo>
                      <a:pt x="39958" y="178147"/>
                      <a:pt x="34963" y="180367"/>
                      <a:pt x="31079" y="180367"/>
                    </a:cubicBezTo>
                    <a:cubicBezTo>
                      <a:pt x="29414" y="180367"/>
                      <a:pt x="27749" y="179812"/>
                      <a:pt x="26639" y="178702"/>
                    </a:cubicBezTo>
                    <a:cubicBezTo>
                      <a:pt x="25529" y="177592"/>
                      <a:pt x="24974" y="175927"/>
                      <a:pt x="24974" y="174262"/>
                    </a:cubicBezTo>
                    <a:cubicBezTo>
                      <a:pt x="24974" y="172597"/>
                      <a:pt x="25529" y="170932"/>
                      <a:pt x="27194" y="168713"/>
                    </a:cubicBezTo>
                    <a:cubicBezTo>
                      <a:pt x="28859" y="167048"/>
                      <a:pt x="31079" y="165383"/>
                      <a:pt x="34409" y="164273"/>
                    </a:cubicBezTo>
                    <a:cubicBezTo>
                      <a:pt x="45508" y="159278"/>
                      <a:pt x="56053" y="152618"/>
                      <a:pt x="64932" y="143184"/>
                    </a:cubicBezTo>
                    <a:cubicBezTo>
                      <a:pt x="74367" y="133749"/>
                      <a:pt x="81581" y="124315"/>
                      <a:pt x="86576" y="114325"/>
                    </a:cubicBezTo>
                    <a:cubicBezTo>
                      <a:pt x="91571" y="104335"/>
                      <a:pt x="94346" y="94901"/>
                      <a:pt x="94346" y="87131"/>
                    </a:cubicBezTo>
                    <a:cubicBezTo>
                      <a:pt x="94346" y="83801"/>
                      <a:pt x="93791" y="81581"/>
                      <a:pt x="92126" y="79917"/>
                    </a:cubicBezTo>
                    <a:cubicBezTo>
                      <a:pt x="91016" y="78252"/>
                      <a:pt x="88241" y="77697"/>
                      <a:pt x="85466" y="77697"/>
                    </a:cubicBezTo>
                    <a:cubicBezTo>
                      <a:pt x="78807" y="77697"/>
                      <a:pt x="71592" y="80471"/>
                      <a:pt x="64377" y="86021"/>
                    </a:cubicBezTo>
                    <a:cubicBezTo>
                      <a:pt x="57162" y="91571"/>
                      <a:pt x="50503" y="98786"/>
                      <a:pt x="44398" y="107665"/>
                    </a:cubicBezTo>
                    <a:cubicBezTo>
                      <a:pt x="39958" y="114325"/>
                      <a:pt x="34963" y="122650"/>
                      <a:pt x="30524" y="132084"/>
                    </a:cubicBezTo>
                    <a:cubicBezTo>
                      <a:pt x="26084" y="141519"/>
                      <a:pt x="22754" y="151508"/>
                      <a:pt x="20534" y="162608"/>
                    </a:cubicBezTo>
                    <a:cubicBezTo>
                      <a:pt x="19424" y="168158"/>
                      <a:pt x="16649" y="170932"/>
                      <a:pt x="12210" y="170932"/>
                    </a:cubicBezTo>
                    <a:cubicBezTo>
                      <a:pt x="11100" y="170932"/>
                      <a:pt x="9989" y="169823"/>
                      <a:pt x="8325" y="168158"/>
                    </a:cubicBezTo>
                    <a:cubicBezTo>
                      <a:pt x="7215" y="165938"/>
                      <a:pt x="6105" y="164273"/>
                      <a:pt x="6105" y="162608"/>
                    </a:cubicBezTo>
                    <a:cubicBezTo>
                      <a:pt x="6105" y="143739"/>
                      <a:pt x="5550" y="115990"/>
                      <a:pt x="3885" y="79362"/>
                    </a:cubicBezTo>
                    <a:cubicBezTo>
                      <a:pt x="2220" y="42733"/>
                      <a:pt x="1665" y="22199"/>
                      <a:pt x="1110" y="16649"/>
                    </a:cubicBezTo>
                    <a:cubicBezTo>
                      <a:pt x="1110" y="15539"/>
                      <a:pt x="1110" y="14984"/>
                      <a:pt x="1110" y="13874"/>
                    </a:cubicBezTo>
                    <a:cubicBezTo>
                      <a:pt x="1110" y="12764"/>
                      <a:pt x="555" y="12210"/>
                      <a:pt x="555" y="11100"/>
                    </a:cubicBezTo>
                    <a:cubicBezTo>
                      <a:pt x="555" y="9990"/>
                      <a:pt x="0" y="8880"/>
                      <a:pt x="0" y="8325"/>
                    </a:cubicBezTo>
                    <a:cubicBezTo>
                      <a:pt x="0" y="7215"/>
                      <a:pt x="0" y="6105"/>
                      <a:pt x="0" y="5550"/>
                    </a:cubicBezTo>
                    <a:cubicBezTo>
                      <a:pt x="0" y="1665"/>
                      <a:pt x="1665" y="0"/>
                      <a:pt x="4995" y="0"/>
                    </a:cubicBezTo>
                    <a:cubicBezTo>
                      <a:pt x="7770" y="0"/>
                      <a:pt x="9989" y="1665"/>
                      <a:pt x="11655" y="4995"/>
                    </a:cubicBezTo>
                    <a:cubicBezTo>
                      <a:pt x="13319" y="8325"/>
                      <a:pt x="14429" y="12210"/>
                      <a:pt x="14429" y="16649"/>
                    </a:cubicBezTo>
                    <a:lnTo>
                      <a:pt x="14429" y="29414"/>
                    </a:lnTo>
                    <a:cubicBezTo>
                      <a:pt x="14429" y="68262"/>
                      <a:pt x="14984" y="97676"/>
                      <a:pt x="16094" y="118765"/>
                    </a:cubicBezTo>
                    <a:cubicBezTo>
                      <a:pt x="16649" y="128754"/>
                      <a:pt x="17204" y="134859"/>
                      <a:pt x="17759" y="135969"/>
                    </a:cubicBezTo>
                    <a:cubicBezTo>
                      <a:pt x="19424" y="130419"/>
                      <a:pt x="22199" y="124869"/>
                      <a:pt x="26084" y="118210"/>
                    </a:cubicBezTo>
                    <a:cubicBezTo>
                      <a:pt x="29969" y="111550"/>
                      <a:pt x="33854" y="105445"/>
                      <a:pt x="38293" y="99896"/>
                    </a:cubicBezTo>
                    <a:cubicBezTo>
                      <a:pt x="46063" y="89351"/>
                      <a:pt x="54388" y="81026"/>
                      <a:pt x="63267" y="74922"/>
                    </a:cubicBezTo>
                    <a:cubicBezTo>
                      <a:pt x="72147" y="68817"/>
                      <a:pt x="80471" y="65487"/>
                      <a:pt x="87686" y="65487"/>
                    </a:cubicBezTo>
                    <a:cubicBezTo>
                      <a:pt x="92681" y="65487"/>
                      <a:pt x="96566" y="67152"/>
                      <a:pt x="99896" y="70482"/>
                    </a:cubicBezTo>
                    <a:cubicBezTo>
                      <a:pt x="103225" y="73812"/>
                      <a:pt x="104890" y="78252"/>
                      <a:pt x="104890" y="84356"/>
                    </a:cubicBezTo>
                    <a:cubicBezTo>
                      <a:pt x="105445" y="98231"/>
                      <a:pt x="99896" y="113215"/>
                      <a:pt x="89351" y="1293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DF507AD3-1AB6-41A3-B080-22C42ED53F81}"/>
                  </a:ext>
                </a:extLst>
              </p:cNvPr>
              <p:cNvSpPr/>
              <p:nvPr/>
            </p:nvSpPr>
            <p:spPr>
              <a:xfrm>
                <a:off x="6577718" y="3857440"/>
                <a:ext cx="94900" cy="119874"/>
              </a:xfrm>
              <a:custGeom>
                <a:avLst/>
                <a:gdLst>
                  <a:gd name="connsiteX0" fmla="*/ 94901 w 94900"/>
                  <a:gd name="connsiteY0" fmla="*/ 59937 h 119874"/>
                  <a:gd name="connsiteX1" fmla="*/ 88241 w 94900"/>
                  <a:gd name="connsiteY1" fmla="*/ 79362 h 119874"/>
                  <a:gd name="connsiteX2" fmla="*/ 68817 w 94900"/>
                  <a:gd name="connsiteY2" fmla="*/ 107110 h 119874"/>
                  <a:gd name="connsiteX3" fmla="*/ 36628 w 94900"/>
                  <a:gd name="connsiteY3" fmla="*/ 119875 h 119874"/>
                  <a:gd name="connsiteX4" fmla="*/ 10545 w 94900"/>
                  <a:gd name="connsiteY4" fmla="*/ 109885 h 119874"/>
                  <a:gd name="connsiteX5" fmla="*/ 0 w 94900"/>
                  <a:gd name="connsiteY5" fmla="*/ 79917 h 119874"/>
                  <a:gd name="connsiteX6" fmla="*/ 8880 w 94900"/>
                  <a:gd name="connsiteY6" fmla="*/ 42178 h 119874"/>
                  <a:gd name="connsiteX7" fmla="*/ 31634 w 94900"/>
                  <a:gd name="connsiteY7" fmla="*/ 11655 h 119874"/>
                  <a:gd name="connsiteX8" fmla="*/ 61047 w 94900"/>
                  <a:gd name="connsiteY8" fmla="*/ 0 h 119874"/>
                  <a:gd name="connsiteX9" fmla="*/ 76032 w 94900"/>
                  <a:gd name="connsiteY9" fmla="*/ 3885 h 119874"/>
                  <a:gd name="connsiteX10" fmla="*/ 82136 w 94900"/>
                  <a:gd name="connsiteY10" fmla="*/ 15539 h 119874"/>
                  <a:gd name="connsiteX11" fmla="*/ 72702 w 94900"/>
                  <a:gd name="connsiteY11" fmla="*/ 32189 h 119874"/>
                  <a:gd name="connsiteX12" fmla="*/ 47728 w 94900"/>
                  <a:gd name="connsiteY12" fmla="*/ 46063 h 119874"/>
                  <a:gd name="connsiteX13" fmla="*/ 16094 w 94900"/>
                  <a:gd name="connsiteY13" fmla="*/ 54943 h 119874"/>
                  <a:gd name="connsiteX14" fmla="*/ 13320 w 94900"/>
                  <a:gd name="connsiteY14" fmla="*/ 76587 h 119874"/>
                  <a:gd name="connsiteX15" fmla="*/ 19979 w 94900"/>
                  <a:gd name="connsiteY15" fmla="*/ 98231 h 119874"/>
                  <a:gd name="connsiteX16" fmla="*/ 38848 w 94900"/>
                  <a:gd name="connsiteY16" fmla="*/ 106000 h 119874"/>
                  <a:gd name="connsiteX17" fmla="*/ 69372 w 94900"/>
                  <a:gd name="connsiteY17" fmla="*/ 92681 h 119874"/>
                  <a:gd name="connsiteX18" fmla="*/ 88796 w 94900"/>
                  <a:gd name="connsiteY18" fmla="*/ 62712 h 119874"/>
                  <a:gd name="connsiteX19" fmla="*/ 90461 w 94900"/>
                  <a:gd name="connsiteY19" fmla="*/ 58827 h 119874"/>
                  <a:gd name="connsiteX20" fmla="*/ 92681 w 94900"/>
                  <a:gd name="connsiteY20" fmla="*/ 56053 h 119874"/>
                  <a:gd name="connsiteX21" fmla="*/ 94901 w 94900"/>
                  <a:gd name="connsiteY21" fmla="*/ 59937 h 119874"/>
                  <a:gd name="connsiteX22" fmla="*/ 67707 w 94900"/>
                  <a:gd name="connsiteY22" fmla="*/ 12209 h 119874"/>
                  <a:gd name="connsiteX23" fmla="*/ 58272 w 94900"/>
                  <a:gd name="connsiteY23" fmla="*/ 9990 h 119874"/>
                  <a:gd name="connsiteX24" fmla="*/ 40513 w 94900"/>
                  <a:gd name="connsiteY24" fmla="*/ 16094 h 119874"/>
                  <a:gd name="connsiteX25" fmla="*/ 26084 w 94900"/>
                  <a:gd name="connsiteY25" fmla="*/ 30524 h 119874"/>
                  <a:gd name="connsiteX26" fmla="*/ 18869 w 94900"/>
                  <a:gd name="connsiteY26" fmla="*/ 45508 h 119874"/>
                  <a:gd name="connsiteX27" fmla="*/ 42733 w 94900"/>
                  <a:gd name="connsiteY27" fmla="*/ 39403 h 119874"/>
                  <a:gd name="connsiteX28" fmla="*/ 63267 w 94900"/>
                  <a:gd name="connsiteY28" fmla="*/ 28304 h 119874"/>
                  <a:gd name="connsiteX29" fmla="*/ 71592 w 94900"/>
                  <a:gd name="connsiteY29" fmla="*/ 18314 h 119874"/>
                  <a:gd name="connsiteX30" fmla="*/ 67707 w 94900"/>
                  <a:gd name="connsiteY30" fmla="*/ 12209 h 11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4900" h="119874">
                    <a:moveTo>
                      <a:pt x="94901" y="59937"/>
                    </a:moveTo>
                    <a:cubicBezTo>
                      <a:pt x="94901" y="62712"/>
                      <a:pt x="92681" y="69372"/>
                      <a:pt x="88241" y="79362"/>
                    </a:cubicBezTo>
                    <a:cubicBezTo>
                      <a:pt x="83801" y="89351"/>
                      <a:pt x="77697" y="98231"/>
                      <a:pt x="68817" y="107110"/>
                    </a:cubicBezTo>
                    <a:cubicBezTo>
                      <a:pt x="59937" y="115435"/>
                      <a:pt x="49393" y="119875"/>
                      <a:pt x="36628" y="119875"/>
                    </a:cubicBezTo>
                    <a:cubicBezTo>
                      <a:pt x="26084" y="119875"/>
                      <a:pt x="17759" y="116545"/>
                      <a:pt x="10545" y="109885"/>
                    </a:cubicBezTo>
                    <a:cubicBezTo>
                      <a:pt x="3330" y="103225"/>
                      <a:pt x="0" y="93236"/>
                      <a:pt x="0" y="79917"/>
                    </a:cubicBezTo>
                    <a:cubicBezTo>
                      <a:pt x="0" y="67152"/>
                      <a:pt x="2775" y="54943"/>
                      <a:pt x="8880" y="42178"/>
                    </a:cubicBezTo>
                    <a:cubicBezTo>
                      <a:pt x="14984" y="29969"/>
                      <a:pt x="22199" y="19424"/>
                      <a:pt x="31634" y="11655"/>
                    </a:cubicBezTo>
                    <a:cubicBezTo>
                      <a:pt x="41068" y="3885"/>
                      <a:pt x="50503" y="0"/>
                      <a:pt x="61047" y="0"/>
                    </a:cubicBezTo>
                    <a:cubicBezTo>
                      <a:pt x="67152" y="0"/>
                      <a:pt x="72147" y="1110"/>
                      <a:pt x="76032" y="3885"/>
                    </a:cubicBezTo>
                    <a:cubicBezTo>
                      <a:pt x="79917" y="6660"/>
                      <a:pt x="82136" y="10545"/>
                      <a:pt x="82136" y="15539"/>
                    </a:cubicBezTo>
                    <a:cubicBezTo>
                      <a:pt x="82136" y="21089"/>
                      <a:pt x="78807" y="26639"/>
                      <a:pt x="72702" y="32189"/>
                    </a:cubicBezTo>
                    <a:cubicBezTo>
                      <a:pt x="66042" y="37738"/>
                      <a:pt x="57718" y="42178"/>
                      <a:pt x="47728" y="46063"/>
                    </a:cubicBezTo>
                    <a:cubicBezTo>
                      <a:pt x="37738" y="49948"/>
                      <a:pt x="27194" y="53278"/>
                      <a:pt x="16094" y="54943"/>
                    </a:cubicBezTo>
                    <a:cubicBezTo>
                      <a:pt x="14429" y="62157"/>
                      <a:pt x="13320" y="69927"/>
                      <a:pt x="13320" y="76587"/>
                    </a:cubicBezTo>
                    <a:cubicBezTo>
                      <a:pt x="13320" y="86021"/>
                      <a:pt x="15539" y="93236"/>
                      <a:pt x="19979" y="98231"/>
                    </a:cubicBezTo>
                    <a:cubicBezTo>
                      <a:pt x="24419" y="103225"/>
                      <a:pt x="31079" y="106000"/>
                      <a:pt x="38848" y="106000"/>
                    </a:cubicBezTo>
                    <a:cubicBezTo>
                      <a:pt x="51613" y="106000"/>
                      <a:pt x="61602" y="101561"/>
                      <a:pt x="69372" y="92681"/>
                    </a:cubicBezTo>
                    <a:cubicBezTo>
                      <a:pt x="77142" y="83801"/>
                      <a:pt x="83801" y="73812"/>
                      <a:pt x="88796" y="62712"/>
                    </a:cubicBezTo>
                    <a:cubicBezTo>
                      <a:pt x="89351" y="62157"/>
                      <a:pt x="89906" y="61047"/>
                      <a:pt x="90461" y="58827"/>
                    </a:cubicBezTo>
                    <a:cubicBezTo>
                      <a:pt x="91016" y="57162"/>
                      <a:pt x="92126" y="56053"/>
                      <a:pt x="92681" y="56053"/>
                    </a:cubicBezTo>
                    <a:cubicBezTo>
                      <a:pt x="94346" y="56607"/>
                      <a:pt x="94901" y="57718"/>
                      <a:pt x="94901" y="59937"/>
                    </a:cubicBezTo>
                    <a:close/>
                    <a:moveTo>
                      <a:pt x="67707" y="12209"/>
                    </a:moveTo>
                    <a:cubicBezTo>
                      <a:pt x="64932" y="10545"/>
                      <a:pt x="62157" y="9990"/>
                      <a:pt x="58272" y="9990"/>
                    </a:cubicBezTo>
                    <a:cubicBezTo>
                      <a:pt x="52168" y="9990"/>
                      <a:pt x="46063" y="12209"/>
                      <a:pt x="40513" y="16094"/>
                    </a:cubicBezTo>
                    <a:cubicBezTo>
                      <a:pt x="34964" y="19979"/>
                      <a:pt x="29969" y="24974"/>
                      <a:pt x="26084" y="30524"/>
                    </a:cubicBezTo>
                    <a:cubicBezTo>
                      <a:pt x="22199" y="36073"/>
                      <a:pt x="19979" y="41068"/>
                      <a:pt x="18869" y="45508"/>
                    </a:cubicBezTo>
                    <a:cubicBezTo>
                      <a:pt x="26084" y="44953"/>
                      <a:pt x="34409" y="42733"/>
                      <a:pt x="42733" y="39403"/>
                    </a:cubicBezTo>
                    <a:cubicBezTo>
                      <a:pt x="51058" y="36073"/>
                      <a:pt x="57718" y="32189"/>
                      <a:pt x="63267" y="28304"/>
                    </a:cubicBezTo>
                    <a:cubicBezTo>
                      <a:pt x="68817" y="24419"/>
                      <a:pt x="71592" y="21089"/>
                      <a:pt x="71592" y="18314"/>
                    </a:cubicBezTo>
                    <a:cubicBezTo>
                      <a:pt x="71592" y="15539"/>
                      <a:pt x="70482" y="13874"/>
                      <a:pt x="67707" y="122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76E0C06-7F1C-41AE-8F8A-91A517AB6429}"/>
                  </a:ext>
                </a:extLst>
              </p:cNvPr>
              <p:cNvSpPr/>
              <p:nvPr/>
            </p:nvSpPr>
            <p:spPr>
              <a:xfrm>
                <a:off x="6688713" y="3855220"/>
                <a:ext cx="90461" cy="128754"/>
              </a:xfrm>
              <a:custGeom>
                <a:avLst/>
                <a:gdLst>
                  <a:gd name="connsiteX0" fmla="*/ 82136 w 90461"/>
                  <a:gd name="connsiteY0" fmla="*/ 107110 h 128754"/>
                  <a:gd name="connsiteX1" fmla="*/ 59382 w 90461"/>
                  <a:gd name="connsiteY1" fmla="*/ 122650 h 128754"/>
                  <a:gd name="connsiteX2" fmla="*/ 29969 w 90461"/>
                  <a:gd name="connsiteY2" fmla="*/ 128754 h 128754"/>
                  <a:gd name="connsiteX3" fmla="*/ 16094 w 90461"/>
                  <a:gd name="connsiteY3" fmla="*/ 126534 h 128754"/>
                  <a:gd name="connsiteX4" fmla="*/ 12210 w 90461"/>
                  <a:gd name="connsiteY4" fmla="*/ 120985 h 128754"/>
                  <a:gd name="connsiteX5" fmla="*/ 17759 w 90461"/>
                  <a:gd name="connsiteY5" fmla="*/ 113215 h 128754"/>
                  <a:gd name="connsiteX6" fmla="*/ 25529 w 90461"/>
                  <a:gd name="connsiteY6" fmla="*/ 107665 h 128754"/>
                  <a:gd name="connsiteX7" fmla="*/ 28304 w 90461"/>
                  <a:gd name="connsiteY7" fmla="*/ 108775 h 128754"/>
                  <a:gd name="connsiteX8" fmla="*/ 27194 w 90461"/>
                  <a:gd name="connsiteY8" fmla="*/ 110995 h 128754"/>
                  <a:gd name="connsiteX9" fmla="*/ 26084 w 90461"/>
                  <a:gd name="connsiteY9" fmla="*/ 112660 h 128754"/>
                  <a:gd name="connsiteX10" fmla="*/ 28859 w 90461"/>
                  <a:gd name="connsiteY10" fmla="*/ 114325 h 128754"/>
                  <a:gd name="connsiteX11" fmla="*/ 36073 w 90461"/>
                  <a:gd name="connsiteY11" fmla="*/ 115435 h 128754"/>
                  <a:gd name="connsiteX12" fmla="*/ 56608 w 90461"/>
                  <a:gd name="connsiteY12" fmla="*/ 111550 h 128754"/>
                  <a:gd name="connsiteX13" fmla="*/ 73812 w 90461"/>
                  <a:gd name="connsiteY13" fmla="*/ 101561 h 128754"/>
                  <a:gd name="connsiteX14" fmla="*/ 80471 w 90461"/>
                  <a:gd name="connsiteY14" fmla="*/ 88796 h 128754"/>
                  <a:gd name="connsiteX15" fmla="*/ 76587 w 90461"/>
                  <a:gd name="connsiteY15" fmla="*/ 78251 h 128754"/>
                  <a:gd name="connsiteX16" fmla="*/ 66042 w 90461"/>
                  <a:gd name="connsiteY16" fmla="*/ 72702 h 128754"/>
                  <a:gd name="connsiteX17" fmla="*/ 44953 w 90461"/>
                  <a:gd name="connsiteY17" fmla="*/ 67707 h 128754"/>
                  <a:gd name="connsiteX18" fmla="*/ 19979 w 90461"/>
                  <a:gd name="connsiteY18" fmla="*/ 61047 h 128754"/>
                  <a:gd name="connsiteX19" fmla="*/ 5550 w 90461"/>
                  <a:gd name="connsiteY19" fmla="*/ 53833 h 128754"/>
                  <a:gd name="connsiteX20" fmla="*/ 0 w 90461"/>
                  <a:gd name="connsiteY20" fmla="*/ 42733 h 128754"/>
                  <a:gd name="connsiteX21" fmla="*/ 11655 w 90461"/>
                  <a:gd name="connsiteY21" fmla="*/ 21089 h 128754"/>
                  <a:gd name="connsiteX22" fmla="*/ 37738 w 90461"/>
                  <a:gd name="connsiteY22" fmla="*/ 5550 h 128754"/>
                  <a:gd name="connsiteX23" fmla="*/ 60492 w 90461"/>
                  <a:gd name="connsiteY23" fmla="*/ 0 h 128754"/>
                  <a:gd name="connsiteX24" fmla="*/ 68817 w 90461"/>
                  <a:gd name="connsiteY24" fmla="*/ 4995 h 128754"/>
                  <a:gd name="connsiteX25" fmla="*/ 67152 w 90461"/>
                  <a:gd name="connsiteY25" fmla="*/ 11654 h 128754"/>
                  <a:gd name="connsiteX26" fmla="*/ 61047 w 90461"/>
                  <a:gd name="connsiteY26" fmla="*/ 14984 h 128754"/>
                  <a:gd name="connsiteX27" fmla="*/ 57718 w 90461"/>
                  <a:gd name="connsiteY27" fmla="*/ 13874 h 128754"/>
                  <a:gd name="connsiteX28" fmla="*/ 54388 w 90461"/>
                  <a:gd name="connsiteY28" fmla="*/ 12764 h 128754"/>
                  <a:gd name="connsiteX29" fmla="*/ 38848 w 90461"/>
                  <a:gd name="connsiteY29" fmla="*/ 16094 h 128754"/>
                  <a:gd name="connsiteX30" fmla="*/ 19979 w 90461"/>
                  <a:gd name="connsiteY30" fmla="*/ 25529 h 128754"/>
                  <a:gd name="connsiteX31" fmla="*/ 11655 w 90461"/>
                  <a:gd name="connsiteY31" fmla="*/ 41068 h 128754"/>
                  <a:gd name="connsiteX32" fmla="*/ 18314 w 90461"/>
                  <a:gd name="connsiteY32" fmla="*/ 49948 h 128754"/>
                  <a:gd name="connsiteX33" fmla="*/ 43288 w 90461"/>
                  <a:gd name="connsiteY33" fmla="*/ 57162 h 128754"/>
                  <a:gd name="connsiteX34" fmla="*/ 47728 w 90461"/>
                  <a:gd name="connsiteY34" fmla="*/ 58272 h 128754"/>
                  <a:gd name="connsiteX35" fmla="*/ 51613 w 90461"/>
                  <a:gd name="connsiteY35" fmla="*/ 59382 h 128754"/>
                  <a:gd name="connsiteX36" fmla="*/ 80471 w 90461"/>
                  <a:gd name="connsiteY36" fmla="*/ 69372 h 128754"/>
                  <a:gd name="connsiteX37" fmla="*/ 90461 w 90461"/>
                  <a:gd name="connsiteY37" fmla="*/ 86021 h 128754"/>
                  <a:gd name="connsiteX38" fmla="*/ 82136 w 90461"/>
                  <a:gd name="connsiteY38" fmla="*/ 107110 h 128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90461" h="128754">
                    <a:moveTo>
                      <a:pt x="82136" y="107110"/>
                    </a:moveTo>
                    <a:cubicBezTo>
                      <a:pt x="76587" y="113770"/>
                      <a:pt x="68817" y="118765"/>
                      <a:pt x="59382" y="122650"/>
                    </a:cubicBezTo>
                    <a:cubicBezTo>
                      <a:pt x="49948" y="126534"/>
                      <a:pt x="39958" y="128754"/>
                      <a:pt x="29969" y="128754"/>
                    </a:cubicBezTo>
                    <a:cubicBezTo>
                      <a:pt x="22754" y="128754"/>
                      <a:pt x="18314" y="128199"/>
                      <a:pt x="16094" y="126534"/>
                    </a:cubicBezTo>
                    <a:cubicBezTo>
                      <a:pt x="13874" y="124869"/>
                      <a:pt x="12210" y="123205"/>
                      <a:pt x="12210" y="120985"/>
                    </a:cubicBezTo>
                    <a:cubicBezTo>
                      <a:pt x="12210" y="119320"/>
                      <a:pt x="13874" y="117100"/>
                      <a:pt x="17759" y="113215"/>
                    </a:cubicBezTo>
                    <a:cubicBezTo>
                      <a:pt x="21644" y="109330"/>
                      <a:pt x="23864" y="107665"/>
                      <a:pt x="25529" y="107665"/>
                    </a:cubicBezTo>
                    <a:cubicBezTo>
                      <a:pt x="27194" y="107665"/>
                      <a:pt x="28304" y="108220"/>
                      <a:pt x="28304" y="108775"/>
                    </a:cubicBezTo>
                    <a:cubicBezTo>
                      <a:pt x="28304" y="109330"/>
                      <a:pt x="27749" y="109885"/>
                      <a:pt x="27194" y="110995"/>
                    </a:cubicBezTo>
                    <a:cubicBezTo>
                      <a:pt x="26639" y="111550"/>
                      <a:pt x="26084" y="112105"/>
                      <a:pt x="26084" y="112660"/>
                    </a:cubicBezTo>
                    <a:cubicBezTo>
                      <a:pt x="26084" y="113215"/>
                      <a:pt x="27194" y="113770"/>
                      <a:pt x="28859" y="114325"/>
                    </a:cubicBezTo>
                    <a:cubicBezTo>
                      <a:pt x="31079" y="114880"/>
                      <a:pt x="33299" y="115435"/>
                      <a:pt x="36073" y="115435"/>
                    </a:cubicBezTo>
                    <a:cubicBezTo>
                      <a:pt x="42733" y="115435"/>
                      <a:pt x="49948" y="114325"/>
                      <a:pt x="56608" y="111550"/>
                    </a:cubicBezTo>
                    <a:cubicBezTo>
                      <a:pt x="63267" y="108775"/>
                      <a:pt x="69372" y="106000"/>
                      <a:pt x="73812" y="101561"/>
                    </a:cubicBezTo>
                    <a:cubicBezTo>
                      <a:pt x="78252" y="97676"/>
                      <a:pt x="80471" y="93236"/>
                      <a:pt x="80471" y="88796"/>
                    </a:cubicBezTo>
                    <a:cubicBezTo>
                      <a:pt x="80471" y="84356"/>
                      <a:pt x="79362" y="81026"/>
                      <a:pt x="76587" y="78251"/>
                    </a:cubicBezTo>
                    <a:cubicBezTo>
                      <a:pt x="73812" y="75477"/>
                      <a:pt x="70482" y="73812"/>
                      <a:pt x="66042" y="72702"/>
                    </a:cubicBezTo>
                    <a:cubicBezTo>
                      <a:pt x="62157" y="71592"/>
                      <a:pt x="54943" y="69927"/>
                      <a:pt x="44953" y="67707"/>
                    </a:cubicBezTo>
                    <a:cubicBezTo>
                      <a:pt x="34409" y="65487"/>
                      <a:pt x="26084" y="63267"/>
                      <a:pt x="19979" y="61047"/>
                    </a:cubicBezTo>
                    <a:cubicBezTo>
                      <a:pt x="13874" y="59382"/>
                      <a:pt x="9435" y="56607"/>
                      <a:pt x="5550" y="53833"/>
                    </a:cubicBezTo>
                    <a:cubicBezTo>
                      <a:pt x="2220" y="51058"/>
                      <a:pt x="0" y="47173"/>
                      <a:pt x="0" y="42733"/>
                    </a:cubicBezTo>
                    <a:cubicBezTo>
                      <a:pt x="0" y="34963"/>
                      <a:pt x="3885" y="27749"/>
                      <a:pt x="11655" y="21089"/>
                    </a:cubicBezTo>
                    <a:cubicBezTo>
                      <a:pt x="19424" y="14429"/>
                      <a:pt x="28304" y="9435"/>
                      <a:pt x="37738" y="5550"/>
                    </a:cubicBezTo>
                    <a:cubicBezTo>
                      <a:pt x="47728" y="1665"/>
                      <a:pt x="55498" y="0"/>
                      <a:pt x="60492" y="0"/>
                    </a:cubicBezTo>
                    <a:cubicBezTo>
                      <a:pt x="66042" y="0"/>
                      <a:pt x="68817" y="1665"/>
                      <a:pt x="68817" y="4995"/>
                    </a:cubicBezTo>
                    <a:cubicBezTo>
                      <a:pt x="68817" y="6660"/>
                      <a:pt x="68262" y="8880"/>
                      <a:pt x="67152" y="11654"/>
                    </a:cubicBezTo>
                    <a:cubicBezTo>
                      <a:pt x="66042" y="13874"/>
                      <a:pt x="63822" y="14984"/>
                      <a:pt x="61047" y="14984"/>
                    </a:cubicBezTo>
                    <a:cubicBezTo>
                      <a:pt x="59937" y="14984"/>
                      <a:pt x="58827" y="14429"/>
                      <a:pt x="57718" y="13874"/>
                    </a:cubicBezTo>
                    <a:cubicBezTo>
                      <a:pt x="56608" y="13319"/>
                      <a:pt x="55498" y="12764"/>
                      <a:pt x="54388" y="12764"/>
                    </a:cubicBezTo>
                    <a:cubicBezTo>
                      <a:pt x="51058" y="12764"/>
                      <a:pt x="46063" y="13874"/>
                      <a:pt x="38848" y="16094"/>
                    </a:cubicBezTo>
                    <a:cubicBezTo>
                      <a:pt x="31634" y="18314"/>
                      <a:pt x="25529" y="21089"/>
                      <a:pt x="19979" y="25529"/>
                    </a:cubicBezTo>
                    <a:cubicBezTo>
                      <a:pt x="14429" y="29969"/>
                      <a:pt x="11655" y="34963"/>
                      <a:pt x="11655" y="41068"/>
                    </a:cubicBezTo>
                    <a:cubicBezTo>
                      <a:pt x="11655" y="44953"/>
                      <a:pt x="13874" y="47728"/>
                      <a:pt x="18314" y="49948"/>
                    </a:cubicBezTo>
                    <a:cubicBezTo>
                      <a:pt x="22754" y="51613"/>
                      <a:pt x="31079" y="54388"/>
                      <a:pt x="43288" y="57162"/>
                    </a:cubicBezTo>
                    <a:cubicBezTo>
                      <a:pt x="44953" y="57717"/>
                      <a:pt x="46063" y="58272"/>
                      <a:pt x="47728" y="58272"/>
                    </a:cubicBezTo>
                    <a:cubicBezTo>
                      <a:pt x="49393" y="58272"/>
                      <a:pt x="50503" y="58827"/>
                      <a:pt x="51613" y="59382"/>
                    </a:cubicBezTo>
                    <a:cubicBezTo>
                      <a:pt x="63822" y="62157"/>
                      <a:pt x="73812" y="65487"/>
                      <a:pt x="80471" y="69372"/>
                    </a:cubicBezTo>
                    <a:cubicBezTo>
                      <a:pt x="87131" y="73257"/>
                      <a:pt x="90461" y="78807"/>
                      <a:pt x="90461" y="86021"/>
                    </a:cubicBezTo>
                    <a:cubicBezTo>
                      <a:pt x="90461" y="93791"/>
                      <a:pt x="87686" y="101006"/>
                      <a:pt x="82136" y="107110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4A8CC901-5F7C-4D57-A566-510C810B70D0}"/>
                  </a:ext>
                </a:extLst>
              </p:cNvPr>
              <p:cNvSpPr/>
              <p:nvPr/>
            </p:nvSpPr>
            <p:spPr>
              <a:xfrm>
                <a:off x="6788608" y="3824697"/>
                <a:ext cx="119319" cy="155393"/>
              </a:xfrm>
              <a:custGeom>
                <a:avLst/>
                <a:gdLst>
                  <a:gd name="connsiteX0" fmla="*/ 115990 w 119319"/>
                  <a:gd name="connsiteY0" fmla="*/ 57162 h 155393"/>
                  <a:gd name="connsiteX1" fmla="*/ 103225 w 119319"/>
                  <a:gd name="connsiteY1" fmla="*/ 60492 h 155393"/>
                  <a:gd name="connsiteX2" fmla="*/ 78252 w 119319"/>
                  <a:gd name="connsiteY2" fmla="*/ 64932 h 155393"/>
                  <a:gd name="connsiteX3" fmla="*/ 62712 w 119319"/>
                  <a:gd name="connsiteY3" fmla="*/ 67707 h 155393"/>
                  <a:gd name="connsiteX4" fmla="*/ 63267 w 119319"/>
                  <a:gd name="connsiteY4" fmla="*/ 94346 h 155393"/>
                  <a:gd name="connsiteX5" fmla="*/ 64377 w 119319"/>
                  <a:gd name="connsiteY5" fmla="*/ 118765 h 155393"/>
                  <a:gd name="connsiteX6" fmla="*/ 67707 w 119319"/>
                  <a:gd name="connsiteY6" fmla="*/ 140409 h 155393"/>
                  <a:gd name="connsiteX7" fmla="*/ 70482 w 119319"/>
                  <a:gd name="connsiteY7" fmla="*/ 148733 h 155393"/>
                  <a:gd name="connsiteX8" fmla="*/ 67707 w 119319"/>
                  <a:gd name="connsiteY8" fmla="*/ 153173 h 155393"/>
                  <a:gd name="connsiteX9" fmla="*/ 62157 w 119319"/>
                  <a:gd name="connsiteY9" fmla="*/ 155393 h 155393"/>
                  <a:gd name="connsiteX10" fmla="*/ 59937 w 119319"/>
                  <a:gd name="connsiteY10" fmla="*/ 154283 h 155393"/>
                  <a:gd name="connsiteX11" fmla="*/ 58272 w 119319"/>
                  <a:gd name="connsiteY11" fmla="*/ 151508 h 155393"/>
                  <a:gd name="connsiteX12" fmla="*/ 55498 w 119319"/>
                  <a:gd name="connsiteY12" fmla="*/ 138744 h 155393"/>
                  <a:gd name="connsiteX13" fmla="*/ 53278 w 119319"/>
                  <a:gd name="connsiteY13" fmla="*/ 118210 h 155393"/>
                  <a:gd name="connsiteX14" fmla="*/ 52168 w 119319"/>
                  <a:gd name="connsiteY14" fmla="*/ 94901 h 155393"/>
                  <a:gd name="connsiteX15" fmla="*/ 51613 w 119319"/>
                  <a:gd name="connsiteY15" fmla="*/ 69372 h 155393"/>
                  <a:gd name="connsiteX16" fmla="*/ 23864 w 119319"/>
                  <a:gd name="connsiteY16" fmla="*/ 74922 h 155393"/>
                  <a:gd name="connsiteX17" fmla="*/ 8325 w 119319"/>
                  <a:gd name="connsiteY17" fmla="*/ 77697 h 155393"/>
                  <a:gd name="connsiteX18" fmla="*/ 2775 w 119319"/>
                  <a:gd name="connsiteY18" fmla="*/ 76032 h 155393"/>
                  <a:gd name="connsiteX19" fmla="*/ 0 w 119319"/>
                  <a:gd name="connsiteY19" fmla="*/ 71592 h 155393"/>
                  <a:gd name="connsiteX20" fmla="*/ 2220 w 119319"/>
                  <a:gd name="connsiteY20" fmla="*/ 67707 h 155393"/>
                  <a:gd name="connsiteX21" fmla="*/ 9435 w 119319"/>
                  <a:gd name="connsiteY21" fmla="*/ 66597 h 155393"/>
                  <a:gd name="connsiteX22" fmla="*/ 19979 w 119319"/>
                  <a:gd name="connsiteY22" fmla="*/ 65487 h 155393"/>
                  <a:gd name="connsiteX23" fmla="*/ 28859 w 119319"/>
                  <a:gd name="connsiteY23" fmla="*/ 63822 h 155393"/>
                  <a:gd name="connsiteX24" fmla="*/ 51058 w 119319"/>
                  <a:gd name="connsiteY24" fmla="*/ 59937 h 155393"/>
                  <a:gd name="connsiteX25" fmla="*/ 50503 w 119319"/>
                  <a:gd name="connsiteY25" fmla="*/ 46618 h 155393"/>
                  <a:gd name="connsiteX26" fmla="*/ 49948 w 119319"/>
                  <a:gd name="connsiteY26" fmla="*/ 29414 h 155393"/>
                  <a:gd name="connsiteX27" fmla="*/ 50503 w 119319"/>
                  <a:gd name="connsiteY27" fmla="*/ 14429 h 155393"/>
                  <a:gd name="connsiteX28" fmla="*/ 52723 w 119319"/>
                  <a:gd name="connsiteY28" fmla="*/ 4995 h 155393"/>
                  <a:gd name="connsiteX29" fmla="*/ 59937 w 119319"/>
                  <a:gd name="connsiteY29" fmla="*/ 0 h 155393"/>
                  <a:gd name="connsiteX30" fmla="*/ 62712 w 119319"/>
                  <a:gd name="connsiteY30" fmla="*/ 555 h 155393"/>
                  <a:gd name="connsiteX31" fmla="*/ 63267 w 119319"/>
                  <a:gd name="connsiteY31" fmla="*/ 3330 h 155393"/>
                  <a:gd name="connsiteX32" fmla="*/ 62157 w 119319"/>
                  <a:gd name="connsiteY32" fmla="*/ 11654 h 155393"/>
                  <a:gd name="connsiteX33" fmla="*/ 61047 w 119319"/>
                  <a:gd name="connsiteY33" fmla="*/ 30524 h 155393"/>
                  <a:gd name="connsiteX34" fmla="*/ 61602 w 119319"/>
                  <a:gd name="connsiteY34" fmla="*/ 50503 h 155393"/>
                  <a:gd name="connsiteX35" fmla="*/ 61602 w 119319"/>
                  <a:gd name="connsiteY35" fmla="*/ 57162 h 155393"/>
                  <a:gd name="connsiteX36" fmla="*/ 104890 w 119319"/>
                  <a:gd name="connsiteY36" fmla="*/ 48283 h 155393"/>
                  <a:gd name="connsiteX37" fmla="*/ 108220 w 119319"/>
                  <a:gd name="connsiteY37" fmla="*/ 44953 h 155393"/>
                  <a:gd name="connsiteX38" fmla="*/ 110995 w 119319"/>
                  <a:gd name="connsiteY38" fmla="*/ 42178 h 155393"/>
                  <a:gd name="connsiteX39" fmla="*/ 116545 w 119319"/>
                  <a:gd name="connsiteY39" fmla="*/ 44953 h 155393"/>
                  <a:gd name="connsiteX40" fmla="*/ 119320 w 119319"/>
                  <a:gd name="connsiteY40" fmla="*/ 51058 h 155393"/>
                  <a:gd name="connsiteX41" fmla="*/ 115990 w 119319"/>
                  <a:gd name="connsiteY41" fmla="*/ 57162 h 155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9319" h="155393">
                    <a:moveTo>
                      <a:pt x="115990" y="57162"/>
                    </a:moveTo>
                    <a:cubicBezTo>
                      <a:pt x="113770" y="58827"/>
                      <a:pt x="109330" y="59937"/>
                      <a:pt x="103225" y="60492"/>
                    </a:cubicBezTo>
                    <a:cubicBezTo>
                      <a:pt x="88241" y="63267"/>
                      <a:pt x="79917" y="64377"/>
                      <a:pt x="78252" y="64932"/>
                    </a:cubicBezTo>
                    <a:lnTo>
                      <a:pt x="62712" y="67707"/>
                    </a:lnTo>
                    <a:cubicBezTo>
                      <a:pt x="62712" y="76032"/>
                      <a:pt x="62712" y="84911"/>
                      <a:pt x="63267" y="94346"/>
                    </a:cubicBezTo>
                    <a:cubicBezTo>
                      <a:pt x="63267" y="103780"/>
                      <a:pt x="63822" y="111550"/>
                      <a:pt x="64377" y="118765"/>
                    </a:cubicBezTo>
                    <a:cubicBezTo>
                      <a:pt x="64932" y="128199"/>
                      <a:pt x="66042" y="135414"/>
                      <a:pt x="67707" y="140409"/>
                    </a:cubicBezTo>
                    <a:cubicBezTo>
                      <a:pt x="69372" y="145404"/>
                      <a:pt x="70482" y="148178"/>
                      <a:pt x="70482" y="148733"/>
                    </a:cubicBezTo>
                    <a:cubicBezTo>
                      <a:pt x="70482" y="150398"/>
                      <a:pt x="69372" y="152063"/>
                      <a:pt x="67707" y="153173"/>
                    </a:cubicBezTo>
                    <a:cubicBezTo>
                      <a:pt x="65487" y="154283"/>
                      <a:pt x="63822" y="155393"/>
                      <a:pt x="62157" y="155393"/>
                    </a:cubicBezTo>
                    <a:cubicBezTo>
                      <a:pt x="61047" y="155393"/>
                      <a:pt x="60492" y="154838"/>
                      <a:pt x="59937" y="154283"/>
                    </a:cubicBezTo>
                    <a:cubicBezTo>
                      <a:pt x="59382" y="153728"/>
                      <a:pt x="58827" y="152618"/>
                      <a:pt x="58272" y="151508"/>
                    </a:cubicBezTo>
                    <a:cubicBezTo>
                      <a:pt x="57163" y="149288"/>
                      <a:pt x="56608" y="144849"/>
                      <a:pt x="55498" y="138744"/>
                    </a:cubicBezTo>
                    <a:cubicBezTo>
                      <a:pt x="54388" y="132639"/>
                      <a:pt x="53833" y="125979"/>
                      <a:pt x="53278" y="118210"/>
                    </a:cubicBezTo>
                    <a:cubicBezTo>
                      <a:pt x="52723" y="111550"/>
                      <a:pt x="52168" y="103780"/>
                      <a:pt x="52168" y="94901"/>
                    </a:cubicBezTo>
                    <a:cubicBezTo>
                      <a:pt x="52168" y="86021"/>
                      <a:pt x="51613" y="77697"/>
                      <a:pt x="51613" y="69372"/>
                    </a:cubicBezTo>
                    <a:cubicBezTo>
                      <a:pt x="42733" y="71037"/>
                      <a:pt x="33299" y="72702"/>
                      <a:pt x="23864" y="74922"/>
                    </a:cubicBezTo>
                    <a:cubicBezTo>
                      <a:pt x="15539" y="76587"/>
                      <a:pt x="9990" y="77697"/>
                      <a:pt x="8325" y="77697"/>
                    </a:cubicBezTo>
                    <a:cubicBezTo>
                      <a:pt x="6105" y="77697"/>
                      <a:pt x="4440" y="77142"/>
                      <a:pt x="2775" y="76032"/>
                    </a:cubicBezTo>
                    <a:cubicBezTo>
                      <a:pt x="1110" y="74922"/>
                      <a:pt x="0" y="73257"/>
                      <a:pt x="0" y="71592"/>
                    </a:cubicBezTo>
                    <a:cubicBezTo>
                      <a:pt x="0" y="69372"/>
                      <a:pt x="555" y="68262"/>
                      <a:pt x="2220" y="67707"/>
                    </a:cubicBezTo>
                    <a:cubicBezTo>
                      <a:pt x="3885" y="67152"/>
                      <a:pt x="6105" y="66597"/>
                      <a:pt x="9435" y="66597"/>
                    </a:cubicBezTo>
                    <a:cubicBezTo>
                      <a:pt x="11655" y="66597"/>
                      <a:pt x="15539" y="66042"/>
                      <a:pt x="19979" y="65487"/>
                    </a:cubicBezTo>
                    <a:cubicBezTo>
                      <a:pt x="24419" y="64377"/>
                      <a:pt x="27749" y="63822"/>
                      <a:pt x="28859" y="63822"/>
                    </a:cubicBezTo>
                    <a:cubicBezTo>
                      <a:pt x="39958" y="61602"/>
                      <a:pt x="47173" y="60492"/>
                      <a:pt x="51058" y="59937"/>
                    </a:cubicBezTo>
                    <a:cubicBezTo>
                      <a:pt x="51058" y="56607"/>
                      <a:pt x="51058" y="52168"/>
                      <a:pt x="50503" y="46618"/>
                    </a:cubicBezTo>
                    <a:cubicBezTo>
                      <a:pt x="49948" y="39403"/>
                      <a:pt x="49948" y="33299"/>
                      <a:pt x="49948" y="29414"/>
                    </a:cubicBezTo>
                    <a:cubicBezTo>
                      <a:pt x="49948" y="23309"/>
                      <a:pt x="49948" y="18314"/>
                      <a:pt x="50503" y="14429"/>
                    </a:cubicBezTo>
                    <a:cubicBezTo>
                      <a:pt x="51058" y="11100"/>
                      <a:pt x="51613" y="7770"/>
                      <a:pt x="52723" y="4995"/>
                    </a:cubicBezTo>
                    <a:cubicBezTo>
                      <a:pt x="53833" y="1665"/>
                      <a:pt x="56608" y="0"/>
                      <a:pt x="59937" y="0"/>
                    </a:cubicBezTo>
                    <a:cubicBezTo>
                      <a:pt x="61602" y="0"/>
                      <a:pt x="62157" y="0"/>
                      <a:pt x="62712" y="555"/>
                    </a:cubicBezTo>
                    <a:cubicBezTo>
                      <a:pt x="63267" y="1110"/>
                      <a:pt x="63267" y="1665"/>
                      <a:pt x="63267" y="3330"/>
                    </a:cubicBezTo>
                    <a:cubicBezTo>
                      <a:pt x="63267" y="4440"/>
                      <a:pt x="62712" y="7215"/>
                      <a:pt x="62157" y="11654"/>
                    </a:cubicBezTo>
                    <a:cubicBezTo>
                      <a:pt x="61602" y="16649"/>
                      <a:pt x="61047" y="22754"/>
                      <a:pt x="61047" y="30524"/>
                    </a:cubicBezTo>
                    <a:cubicBezTo>
                      <a:pt x="61047" y="36628"/>
                      <a:pt x="61047" y="43288"/>
                      <a:pt x="61602" y="50503"/>
                    </a:cubicBezTo>
                    <a:lnTo>
                      <a:pt x="61602" y="57162"/>
                    </a:lnTo>
                    <a:cubicBezTo>
                      <a:pt x="68817" y="56052"/>
                      <a:pt x="83246" y="53278"/>
                      <a:pt x="104890" y="48283"/>
                    </a:cubicBezTo>
                    <a:cubicBezTo>
                      <a:pt x="106000" y="47728"/>
                      <a:pt x="107110" y="46618"/>
                      <a:pt x="108220" y="44953"/>
                    </a:cubicBezTo>
                    <a:cubicBezTo>
                      <a:pt x="109330" y="43288"/>
                      <a:pt x="109885" y="42178"/>
                      <a:pt x="110995" y="42178"/>
                    </a:cubicBezTo>
                    <a:cubicBezTo>
                      <a:pt x="112660" y="42178"/>
                      <a:pt x="114880" y="43288"/>
                      <a:pt x="116545" y="44953"/>
                    </a:cubicBezTo>
                    <a:cubicBezTo>
                      <a:pt x="118210" y="47173"/>
                      <a:pt x="119320" y="48838"/>
                      <a:pt x="119320" y="51058"/>
                    </a:cubicBezTo>
                    <a:cubicBezTo>
                      <a:pt x="119320" y="53278"/>
                      <a:pt x="118210" y="55498"/>
                      <a:pt x="115990" y="5716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40173BFE-3FE2-4393-ADD9-88208DFDD16C}"/>
                  </a:ext>
                </a:extLst>
              </p:cNvPr>
              <p:cNvSpPr/>
              <p:nvPr/>
            </p:nvSpPr>
            <p:spPr>
              <a:xfrm>
                <a:off x="6985070" y="3857995"/>
                <a:ext cx="109330" cy="120429"/>
              </a:xfrm>
              <a:custGeom>
                <a:avLst/>
                <a:gdLst>
                  <a:gd name="connsiteX0" fmla="*/ 107665 w 109330"/>
                  <a:gd name="connsiteY0" fmla="*/ 106000 h 120429"/>
                  <a:gd name="connsiteX1" fmla="*/ 109330 w 109330"/>
                  <a:gd name="connsiteY1" fmla="*/ 108775 h 120429"/>
                  <a:gd name="connsiteX2" fmla="*/ 107110 w 109330"/>
                  <a:gd name="connsiteY2" fmla="*/ 115435 h 120429"/>
                  <a:gd name="connsiteX3" fmla="*/ 102115 w 109330"/>
                  <a:gd name="connsiteY3" fmla="*/ 119320 h 120429"/>
                  <a:gd name="connsiteX4" fmla="*/ 96011 w 109330"/>
                  <a:gd name="connsiteY4" fmla="*/ 114325 h 120429"/>
                  <a:gd name="connsiteX5" fmla="*/ 93791 w 109330"/>
                  <a:gd name="connsiteY5" fmla="*/ 102670 h 120429"/>
                  <a:gd name="connsiteX6" fmla="*/ 94346 w 109330"/>
                  <a:gd name="connsiteY6" fmla="*/ 67707 h 120429"/>
                  <a:gd name="connsiteX7" fmla="*/ 94346 w 109330"/>
                  <a:gd name="connsiteY7" fmla="*/ 58272 h 120429"/>
                  <a:gd name="connsiteX8" fmla="*/ 91571 w 109330"/>
                  <a:gd name="connsiteY8" fmla="*/ 50503 h 120429"/>
                  <a:gd name="connsiteX9" fmla="*/ 71037 w 109330"/>
                  <a:gd name="connsiteY9" fmla="*/ 82691 h 120429"/>
                  <a:gd name="connsiteX10" fmla="*/ 47173 w 109330"/>
                  <a:gd name="connsiteY10" fmla="*/ 108220 h 120429"/>
                  <a:gd name="connsiteX11" fmla="*/ 16649 w 109330"/>
                  <a:gd name="connsiteY11" fmla="*/ 120430 h 120429"/>
                  <a:gd name="connsiteX12" fmla="*/ 4440 w 109330"/>
                  <a:gd name="connsiteY12" fmla="*/ 115435 h 120429"/>
                  <a:gd name="connsiteX13" fmla="*/ 0 w 109330"/>
                  <a:gd name="connsiteY13" fmla="*/ 102670 h 120429"/>
                  <a:gd name="connsiteX14" fmla="*/ 8879 w 109330"/>
                  <a:gd name="connsiteY14" fmla="*/ 76032 h 120429"/>
                  <a:gd name="connsiteX15" fmla="*/ 31078 w 109330"/>
                  <a:gd name="connsiteY15" fmla="*/ 41623 h 120429"/>
                  <a:gd name="connsiteX16" fmla="*/ 58272 w 109330"/>
                  <a:gd name="connsiteY16" fmla="*/ 12764 h 120429"/>
                  <a:gd name="connsiteX17" fmla="*/ 72702 w 109330"/>
                  <a:gd name="connsiteY17" fmla="*/ 2775 h 120429"/>
                  <a:gd name="connsiteX18" fmla="*/ 82136 w 109330"/>
                  <a:gd name="connsiteY18" fmla="*/ 0 h 120429"/>
                  <a:gd name="connsiteX19" fmla="*/ 89906 w 109330"/>
                  <a:gd name="connsiteY19" fmla="*/ 2220 h 120429"/>
                  <a:gd name="connsiteX20" fmla="*/ 97121 w 109330"/>
                  <a:gd name="connsiteY20" fmla="*/ 8880 h 120429"/>
                  <a:gd name="connsiteX21" fmla="*/ 99896 w 109330"/>
                  <a:gd name="connsiteY21" fmla="*/ 18869 h 120429"/>
                  <a:gd name="connsiteX22" fmla="*/ 96011 w 109330"/>
                  <a:gd name="connsiteY22" fmla="*/ 33299 h 120429"/>
                  <a:gd name="connsiteX23" fmla="*/ 99896 w 109330"/>
                  <a:gd name="connsiteY23" fmla="*/ 32189 h 120429"/>
                  <a:gd name="connsiteX24" fmla="*/ 103225 w 109330"/>
                  <a:gd name="connsiteY24" fmla="*/ 38848 h 120429"/>
                  <a:gd name="connsiteX25" fmla="*/ 103780 w 109330"/>
                  <a:gd name="connsiteY25" fmla="*/ 54388 h 120429"/>
                  <a:gd name="connsiteX26" fmla="*/ 104335 w 109330"/>
                  <a:gd name="connsiteY26" fmla="*/ 73812 h 120429"/>
                  <a:gd name="connsiteX27" fmla="*/ 104890 w 109330"/>
                  <a:gd name="connsiteY27" fmla="*/ 89351 h 120429"/>
                  <a:gd name="connsiteX28" fmla="*/ 105445 w 109330"/>
                  <a:gd name="connsiteY28" fmla="*/ 101006 h 120429"/>
                  <a:gd name="connsiteX29" fmla="*/ 107665 w 109330"/>
                  <a:gd name="connsiteY29" fmla="*/ 106000 h 120429"/>
                  <a:gd name="connsiteX30" fmla="*/ 45508 w 109330"/>
                  <a:gd name="connsiteY30" fmla="*/ 97121 h 120429"/>
                  <a:gd name="connsiteX31" fmla="*/ 67152 w 109330"/>
                  <a:gd name="connsiteY31" fmla="*/ 73812 h 120429"/>
                  <a:gd name="connsiteX32" fmla="*/ 88241 w 109330"/>
                  <a:gd name="connsiteY32" fmla="*/ 40513 h 120429"/>
                  <a:gd name="connsiteX33" fmla="*/ 91016 w 109330"/>
                  <a:gd name="connsiteY33" fmla="*/ 24974 h 120429"/>
                  <a:gd name="connsiteX34" fmla="*/ 88241 w 109330"/>
                  <a:gd name="connsiteY34" fmla="*/ 16094 h 120429"/>
                  <a:gd name="connsiteX35" fmla="*/ 79916 w 109330"/>
                  <a:gd name="connsiteY35" fmla="*/ 12209 h 120429"/>
                  <a:gd name="connsiteX36" fmla="*/ 64377 w 109330"/>
                  <a:gd name="connsiteY36" fmla="*/ 20534 h 120429"/>
                  <a:gd name="connsiteX37" fmla="*/ 41068 w 109330"/>
                  <a:gd name="connsiteY37" fmla="*/ 45508 h 120429"/>
                  <a:gd name="connsiteX38" fmla="*/ 21089 w 109330"/>
                  <a:gd name="connsiteY38" fmla="*/ 76032 h 120429"/>
                  <a:gd name="connsiteX39" fmla="*/ 13319 w 109330"/>
                  <a:gd name="connsiteY39" fmla="*/ 99896 h 120429"/>
                  <a:gd name="connsiteX40" fmla="*/ 19979 w 109330"/>
                  <a:gd name="connsiteY40" fmla="*/ 107110 h 120429"/>
                  <a:gd name="connsiteX41" fmla="*/ 45508 w 109330"/>
                  <a:gd name="connsiteY41" fmla="*/ 97121 h 120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9330" h="120429">
                    <a:moveTo>
                      <a:pt x="107665" y="106000"/>
                    </a:moveTo>
                    <a:cubicBezTo>
                      <a:pt x="108775" y="107110"/>
                      <a:pt x="109330" y="108220"/>
                      <a:pt x="109330" y="108775"/>
                    </a:cubicBezTo>
                    <a:cubicBezTo>
                      <a:pt x="109330" y="110440"/>
                      <a:pt x="108775" y="113215"/>
                      <a:pt x="107110" y="115435"/>
                    </a:cubicBezTo>
                    <a:cubicBezTo>
                      <a:pt x="105445" y="118210"/>
                      <a:pt x="103780" y="119320"/>
                      <a:pt x="102115" y="119320"/>
                    </a:cubicBezTo>
                    <a:cubicBezTo>
                      <a:pt x="99341" y="119320"/>
                      <a:pt x="97121" y="117655"/>
                      <a:pt x="96011" y="114325"/>
                    </a:cubicBezTo>
                    <a:cubicBezTo>
                      <a:pt x="94346" y="110995"/>
                      <a:pt x="93791" y="107110"/>
                      <a:pt x="93791" y="102670"/>
                    </a:cubicBezTo>
                    <a:cubicBezTo>
                      <a:pt x="93791" y="98786"/>
                      <a:pt x="93791" y="87131"/>
                      <a:pt x="94346" y="67707"/>
                    </a:cubicBezTo>
                    <a:lnTo>
                      <a:pt x="94346" y="58272"/>
                    </a:lnTo>
                    <a:cubicBezTo>
                      <a:pt x="94346" y="54388"/>
                      <a:pt x="93236" y="51613"/>
                      <a:pt x="91571" y="50503"/>
                    </a:cubicBezTo>
                    <a:cubicBezTo>
                      <a:pt x="84356" y="62712"/>
                      <a:pt x="77697" y="73812"/>
                      <a:pt x="71037" y="82691"/>
                    </a:cubicBezTo>
                    <a:cubicBezTo>
                      <a:pt x="64932" y="91571"/>
                      <a:pt x="56607" y="100451"/>
                      <a:pt x="47173" y="108220"/>
                    </a:cubicBezTo>
                    <a:cubicBezTo>
                      <a:pt x="37183" y="115990"/>
                      <a:pt x="27194" y="120430"/>
                      <a:pt x="16649" y="120430"/>
                    </a:cubicBezTo>
                    <a:cubicBezTo>
                      <a:pt x="11654" y="120430"/>
                      <a:pt x="7215" y="118765"/>
                      <a:pt x="4440" y="115435"/>
                    </a:cubicBezTo>
                    <a:cubicBezTo>
                      <a:pt x="1665" y="112105"/>
                      <a:pt x="0" y="108220"/>
                      <a:pt x="0" y="102670"/>
                    </a:cubicBezTo>
                    <a:cubicBezTo>
                      <a:pt x="0" y="96011"/>
                      <a:pt x="2775" y="87131"/>
                      <a:pt x="8879" y="76032"/>
                    </a:cubicBezTo>
                    <a:cubicBezTo>
                      <a:pt x="14984" y="64932"/>
                      <a:pt x="22199" y="53278"/>
                      <a:pt x="31078" y="41623"/>
                    </a:cubicBezTo>
                    <a:cubicBezTo>
                      <a:pt x="39958" y="29969"/>
                      <a:pt x="49393" y="20534"/>
                      <a:pt x="58272" y="12764"/>
                    </a:cubicBezTo>
                    <a:cubicBezTo>
                      <a:pt x="64377" y="7770"/>
                      <a:pt x="68817" y="4440"/>
                      <a:pt x="72702" y="2775"/>
                    </a:cubicBezTo>
                    <a:cubicBezTo>
                      <a:pt x="76032" y="1110"/>
                      <a:pt x="79361" y="0"/>
                      <a:pt x="82136" y="0"/>
                    </a:cubicBezTo>
                    <a:cubicBezTo>
                      <a:pt x="84911" y="0"/>
                      <a:pt x="87131" y="555"/>
                      <a:pt x="89906" y="2220"/>
                    </a:cubicBezTo>
                    <a:cubicBezTo>
                      <a:pt x="92681" y="3885"/>
                      <a:pt x="94901" y="6105"/>
                      <a:pt x="97121" y="8880"/>
                    </a:cubicBezTo>
                    <a:cubicBezTo>
                      <a:pt x="99341" y="11654"/>
                      <a:pt x="99896" y="14984"/>
                      <a:pt x="99896" y="18869"/>
                    </a:cubicBezTo>
                    <a:cubicBezTo>
                      <a:pt x="99896" y="23864"/>
                      <a:pt x="98786" y="28859"/>
                      <a:pt x="96011" y="33299"/>
                    </a:cubicBezTo>
                    <a:lnTo>
                      <a:pt x="99896" y="32189"/>
                    </a:lnTo>
                    <a:cubicBezTo>
                      <a:pt x="101560" y="32189"/>
                      <a:pt x="102670" y="34408"/>
                      <a:pt x="103225" y="38848"/>
                    </a:cubicBezTo>
                    <a:cubicBezTo>
                      <a:pt x="103225" y="41623"/>
                      <a:pt x="103780" y="46618"/>
                      <a:pt x="103780" y="54388"/>
                    </a:cubicBezTo>
                    <a:cubicBezTo>
                      <a:pt x="103780" y="62157"/>
                      <a:pt x="104335" y="68817"/>
                      <a:pt x="104335" y="73812"/>
                    </a:cubicBezTo>
                    <a:cubicBezTo>
                      <a:pt x="104335" y="79362"/>
                      <a:pt x="104890" y="84356"/>
                      <a:pt x="104890" y="89351"/>
                    </a:cubicBezTo>
                    <a:cubicBezTo>
                      <a:pt x="104890" y="94346"/>
                      <a:pt x="105445" y="98231"/>
                      <a:pt x="105445" y="101006"/>
                    </a:cubicBezTo>
                    <a:cubicBezTo>
                      <a:pt x="106000" y="103780"/>
                      <a:pt x="106555" y="104890"/>
                      <a:pt x="107665" y="106000"/>
                    </a:cubicBezTo>
                    <a:close/>
                    <a:moveTo>
                      <a:pt x="45508" y="97121"/>
                    </a:moveTo>
                    <a:cubicBezTo>
                      <a:pt x="53833" y="90461"/>
                      <a:pt x="61047" y="82691"/>
                      <a:pt x="67152" y="73812"/>
                    </a:cubicBezTo>
                    <a:cubicBezTo>
                      <a:pt x="73812" y="64932"/>
                      <a:pt x="80471" y="53833"/>
                      <a:pt x="88241" y="40513"/>
                    </a:cubicBezTo>
                    <a:cubicBezTo>
                      <a:pt x="89906" y="35518"/>
                      <a:pt x="91016" y="30524"/>
                      <a:pt x="91016" y="24974"/>
                    </a:cubicBezTo>
                    <a:cubicBezTo>
                      <a:pt x="91016" y="21644"/>
                      <a:pt x="89906" y="18869"/>
                      <a:pt x="88241" y="16094"/>
                    </a:cubicBezTo>
                    <a:cubicBezTo>
                      <a:pt x="86576" y="13319"/>
                      <a:pt x="83246" y="12209"/>
                      <a:pt x="79916" y="12209"/>
                    </a:cubicBezTo>
                    <a:cubicBezTo>
                      <a:pt x="76032" y="12209"/>
                      <a:pt x="70482" y="14984"/>
                      <a:pt x="64377" y="20534"/>
                    </a:cubicBezTo>
                    <a:cubicBezTo>
                      <a:pt x="57162" y="26639"/>
                      <a:pt x="49393" y="34963"/>
                      <a:pt x="41068" y="45508"/>
                    </a:cubicBezTo>
                    <a:cubicBezTo>
                      <a:pt x="32744" y="56052"/>
                      <a:pt x="26084" y="66042"/>
                      <a:pt x="21089" y="76032"/>
                    </a:cubicBezTo>
                    <a:cubicBezTo>
                      <a:pt x="15539" y="86021"/>
                      <a:pt x="13319" y="93791"/>
                      <a:pt x="13319" y="99896"/>
                    </a:cubicBezTo>
                    <a:cubicBezTo>
                      <a:pt x="13319" y="104890"/>
                      <a:pt x="15539" y="107110"/>
                      <a:pt x="19979" y="107110"/>
                    </a:cubicBezTo>
                    <a:cubicBezTo>
                      <a:pt x="28859" y="107110"/>
                      <a:pt x="37183" y="103780"/>
                      <a:pt x="45508" y="97121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212C33C4-2749-44CE-BDEF-6876F7A3A684}"/>
                  </a:ext>
                </a:extLst>
              </p:cNvPr>
              <p:cNvSpPr/>
              <p:nvPr/>
            </p:nvSpPr>
            <p:spPr>
              <a:xfrm>
                <a:off x="7107164" y="3824697"/>
                <a:ext cx="119319" cy="155393"/>
              </a:xfrm>
              <a:custGeom>
                <a:avLst/>
                <a:gdLst>
                  <a:gd name="connsiteX0" fmla="*/ 115990 w 119319"/>
                  <a:gd name="connsiteY0" fmla="*/ 57162 h 155393"/>
                  <a:gd name="connsiteX1" fmla="*/ 103225 w 119319"/>
                  <a:gd name="connsiteY1" fmla="*/ 60492 h 155393"/>
                  <a:gd name="connsiteX2" fmla="*/ 78251 w 119319"/>
                  <a:gd name="connsiteY2" fmla="*/ 64932 h 155393"/>
                  <a:gd name="connsiteX3" fmla="*/ 62712 w 119319"/>
                  <a:gd name="connsiteY3" fmla="*/ 67707 h 155393"/>
                  <a:gd name="connsiteX4" fmla="*/ 63267 w 119319"/>
                  <a:gd name="connsiteY4" fmla="*/ 94346 h 155393"/>
                  <a:gd name="connsiteX5" fmla="*/ 64377 w 119319"/>
                  <a:gd name="connsiteY5" fmla="*/ 118765 h 155393"/>
                  <a:gd name="connsiteX6" fmla="*/ 67707 w 119319"/>
                  <a:gd name="connsiteY6" fmla="*/ 140409 h 155393"/>
                  <a:gd name="connsiteX7" fmla="*/ 70482 w 119319"/>
                  <a:gd name="connsiteY7" fmla="*/ 148733 h 155393"/>
                  <a:gd name="connsiteX8" fmla="*/ 67707 w 119319"/>
                  <a:gd name="connsiteY8" fmla="*/ 153173 h 155393"/>
                  <a:gd name="connsiteX9" fmla="*/ 62157 w 119319"/>
                  <a:gd name="connsiteY9" fmla="*/ 155393 h 155393"/>
                  <a:gd name="connsiteX10" fmla="*/ 59937 w 119319"/>
                  <a:gd name="connsiteY10" fmla="*/ 154283 h 155393"/>
                  <a:gd name="connsiteX11" fmla="*/ 58272 w 119319"/>
                  <a:gd name="connsiteY11" fmla="*/ 151508 h 155393"/>
                  <a:gd name="connsiteX12" fmla="*/ 55498 w 119319"/>
                  <a:gd name="connsiteY12" fmla="*/ 138744 h 155393"/>
                  <a:gd name="connsiteX13" fmla="*/ 53278 w 119319"/>
                  <a:gd name="connsiteY13" fmla="*/ 118210 h 155393"/>
                  <a:gd name="connsiteX14" fmla="*/ 52168 w 119319"/>
                  <a:gd name="connsiteY14" fmla="*/ 94901 h 155393"/>
                  <a:gd name="connsiteX15" fmla="*/ 51613 w 119319"/>
                  <a:gd name="connsiteY15" fmla="*/ 69372 h 155393"/>
                  <a:gd name="connsiteX16" fmla="*/ 23864 w 119319"/>
                  <a:gd name="connsiteY16" fmla="*/ 74922 h 155393"/>
                  <a:gd name="connsiteX17" fmla="*/ 8325 w 119319"/>
                  <a:gd name="connsiteY17" fmla="*/ 77697 h 155393"/>
                  <a:gd name="connsiteX18" fmla="*/ 2775 w 119319"/>
                  <a:gd name="connsiteY18" fmla="*/ 76032 h 155393"/>
                  <a:gd name="connsiteX19" fmla="*/ 0 w 119319"/>
                  <a:gd name="connsiteY19" fmla="*/ 71592 h 155393"/>
                  <a:gd name="connsiteX20" fmla="*/ 2220 w 119319"/>
                  <a:gd name="connsiteY20" fmla="*/ 67707 h 155393"/>
                  <a:gd name="connsiteX21" fmla="*/ 9434 w 119319"/>
                  <a:gd name="connsiteY21" fmla="*/ 66597 h 155393"/>
                  <a:gd name="connsiteX22" fmla="*/ 19979 w 119319"/>
                  <a:gd name="connsiteY22" fmla="*/ 65487 h 155393"/>
                  <a:gd name="connsiteX23" fmla="*/ 28859 w 119319"/>
                  <a:gd name="connsiteY23" fmla="*/ 63822 h 155393"/>
                  <a:gd name="connsiteX24" fmla="*/ 51058 w 119319"/>
                  <a:gd name="connsiteY24" fmla="*/ 59937 h 155393"/>
                  <a:gd name="connsiteX25" fmla="*/ 50503 w 119319"/>
                  <a:gd name="connsiteY25" fmla="*/ 46618 h 155393"/>
                  <a:gd name="connsiteX26" fmla="*/ 49948 w 119319"/>
                  <a:gd name="connsiteY26" fmla="*/ 29414 h 155393"/>
                  <a:gd name="connsiteX27" fmla="*/ 50503 w 119319"/>
                  <a:gd name="connsiteY27" fmla="*/ 14429 h 155393"/>
                  <a:gd name="connsiteX28" fmla="*/ 52723 w 119319"/>
                  <a:gd name="connsiteY28" fmla="*/ 4995 h 155393"/>
                  <a:gd name="connsiteX29" fmla="*/ 59937 w 119319"/>
                  <a:gd name="connsiteY29" fmla="*/ 0 h 155393"/>
                  <a:gd name="connsiteX30" fmla="*/ 62712 w 119319"/>
                  <a:gd name="connsiteY30" fmla="*/ 555 h 155393"/>
                  <a:gd name="connsiteX31" fmla="*/ 63267 w 119319"/>
                  <a:gd name="connsiteY31" fmla="*/ 3330 h 155393"/>
                  <a:gd name="connsiteX32" fmla="*/ 62157 w 119319"/>
                  <a:gd name="connsiteY32" fmla="*/ 11654 h 155393"/>
                  <a:gd name="connsiteX33" fmla="*/ 61047 w 119319"/>
                  <a:gd name="connsiteY33" fmla="*/ 30524 h 155393"/>
                  <a:gd name="connsiteX34" fmla="*/ 61602 w 119319"/>
                  <a:gd name="connsiteY34" fmla="*/ 50503 h 155393"/>
                  <a:gd name="connsiteX35" fmla="*/ 61602 w 119319"/>
                  <a:gd name="connsiteY35" fmla="*/ 57162 h 155393"/>
                  <a:gd name="connsiteX36" fmla="*/ 104890 w 119319"/>
                  <a:gd name="connsiteY36" fmla="*/ 48283 h 155393"/>
                  <a:gd name="connsiteX37" fmla="*/ 108220 w 119319"/>
                  <a:gd name="connsiteY37" fmla="*/ 44953 h 155393"/>
                  <a:gd name="connsiteX38" fmla="*/ 110995 w 119319"/>
                  <a:gd name="connsiteY38" fmla="*/ 42178 h 155393"/>
                  <a:gd name="connsiteX39" fmla="*/ 116545 w 119319"/>
                  <a:gd name="connsiteY39" fmla="*/ 44953 h 155393"/>
                  <a:gd name="connsiteX40" fmla="*/ 119320 w 119319"/>
                  <a:gd name="connsiteY40" fmla="*/ 51058 h 155393"/>
                  <a:gd name="connsiteX41" fmla="*/ 115990 w 119319"/>
                  <a:gd name="connsiteY41" fmla="*/ 57162 h 155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9319" h="155393">
                    <a:moveTo>
                      <a:pt x="115990" y="57162"/>
                    </a:moveTo>
                    <a:cubicBezTo>
                      <a:pt x="113770" y="58827"/>
                      <a:pt x="109330" y="59937"/>
                      <a:pt x="103225" y="60492"/>
                    </a:cubicBezTo>
                    <a:cubicBezTo>
                      <a:pt x="88241" y="63267"/>
                      <a:pt x="79916" y="64377"/>
                      <a:pt x="78251" y="64932"/>
                    </a:cubicBezTo>
                    <a:lnTo>
                      <a:pt x="62712" y="67707"/>
                    </a:lnTo>
                    <a:cubicBezTo>
                      <a:pt x="62712" y="76032"/>
                      <a:pt x="62712" y="84911"/>
                      <a:pt x="63267" y="94346"/>
                    </a:cubicBezTo>
                    <a:cubicBezTo>
                      <a:pt x="63267" y="103780"/>
                      <a:pt x="63822" y="111550"/>
                      <a:pt x="64377" y="118765"/>
                    </a:cubicBezTo>
                    <a:cubicBezTo>
                      <a:pt x="64932" y="128199"/>
                      <a:pt x="66042" y="135414"/>
                      <a:pt x="67707" y="140409"/>
                    </a:cubicBezTo>
                    <a:cubicBezTo>
                      <a:pt x="69372" y="145404"/>
                      <a:pt x="70482" y="148178"/>
                      <a:pt x="70482" y="148733"/>
                    </a:cubicBezTo>
                    <a:cubicBezTo>
                      <a:pt x="70482" y="150398"/>
                      <a:pt x="69372" y="152063"/>
                      <a:pt x="67707" y="153173"/>
                    </a:cubicBezTo>
                    <a:cubicBezTo>
                      <a:pt x="65487" y="154283"/>
                      <a:pt x="63822" y="155393"/>
                      <a:pt x="62157" y="155393"/>
                    </a:cubicBezTo>
                    <a:cubicBezTo>
                      <a:pt x="61047" y="155393"/>
                      <a:pt x="60492" y="154838"/>
                      <a:pt x="59937" y="154283"/>
                    </a:cubicBezTo>
                    <a:cubicBezTo>
                      <a:pt x="59382" y="153728"/>
                      <a:pt x="58827" y="152618"/>
                      <a:pt x="58272" y="151508"/>
                    </a:cubicBezTo>
                    <a:cubicBezTo>
                      <a:pt x="57162" y="149288"/>
                      <a:pt x="56607" y="144849"/>
                      <a:pt x="55498" y="138744"/>
                    </a:cubicBezTo>
                    <a:cubicBezTo>
                      <a:pt x="54388" y="132639"/>
                      <a:pt x="53833" y="125979"/>
                      <a:pt x="53278" y="118210"/>
                    </a:cubicBezTo>
                    <a:cubicBezTo>
                      <a:pt x="52723" y="111550"/>
                      <a:pt x="52168" y="103780"/>
                      <a:pt x="52168" y="94901"/>
                    </a:cubicBezTo>
                    <a:cubicBezTo>
                      <a:pt x="52168" y="86021"/>
                      <a:pt x="51613" y="77697"/>
                      <a:pt x="51613" y="69372"/>
                    </a:cubicBezTo>
                    <a:cubicBezTo>
                      <a:pt x="42733" y="71037"/>
                      <a:pt x="33299" y="72702"/>
                      <a:pt x="23864" y="74922"/>
                    </a:cubicBezTo>
                    <a:cubicBezTo>
                      <a:pt x="15539" y="76587"/>
                      <a:pt x="9989" y="77697"/>
                      <a:pt x="8325" y="77697"/>
                    </a:cubicBezTo>
                    <a:cubicBezTo>
                      <a:pt x="6105" y="77697"/>
                      <a:pt x="4440" y="77142"/>
                      <a:pt x="2775" y="76032"/>
                    </a:cubicBezTo>
                    <a:cubicBezTo>
                      <a:pt x="1110" y="74922"/>
                      <a:pt x="0" y="73257"/>
                      <a:pt x="0" y="71592"/>
                    </a:cubicBezTo>
                    <a:cubicBezTo>
                      <a:pt x="0" y="69372"/>
                      <a:pt x="555" y="68262"/>
                      <a:pt x="2220" y="67707"/>
                    </a:cubicBezTo>
                    <a:cubicBezTo>
                      <a:pt x="3885" y="67152"/>
                      <a:pt x="6105" y="66597"/>
                      <a:pt x="9434" y="66597"/>
                    </a:cubicBezTo>
                    <a:cubicBezTo>
                      <a:pt x="11654" y="66597"/>
                      <a:pt x="15539" y="66042"/>
                      <a:pt x="19979" y="65487"/>
                    </a:cubicBezTo>
                    <a:cubicBezTo>
                      <a:pt x="24419" y="64377"/>
                      <a:pt x="27749" y="63822"/>
                      <a:pt x="28859" y="63822"/>
                    </a:cubicBezTo>
                    <a:cubicBezTo>
                      <a:pt x="39958" y="61602"/>
                      <a:pt x="47173" y="60492"/>
                      <a:pt x="51058" y="59937"/>
                    </a:cubicBezTo>
                    <a:cubicBezTo>
                      <a:pt x="51058" y="56607"/>
                      <a:pt x="51058" y="52168"/>
                      <a:pt x="50503" y="46618"/>
                    </a:cubicBezTo>
                    <a:cubicBezTo>
                      <a:pt x="49948" y="39403"/>
                      <a:pt x="49948" y="33299"/>
                      <a:pt x="49948" y="29414"/>
                    </a:cubicBezTo>
                    <a:cubicBezTo>
                      <a:pt x="49948" y="23309"/>
                      <a:pt x="49948" y="18314"/>
                      <a:pt x="50503" y="14429"/>
                    </a:cubicBezTo>
                    <a:cubicBezTo>
                      <a:pt x="51058" y="11100"/>
                      <a:pt x="51613" y="7770"/>
                      <a:pt x="52723" y="4995"/>
                    </a:cubicBezTo>
                    <a:cubicBezTo>
                      <a:pt x="53833" y="1665"/>
                      <a:pt x="56607" y="0"/>
                      <a:pt x="59937" y="0"/>
                    </a:cubicBezTo>
                    <a:cubicBezTo>
                      <a:pt x="61602" y="0"/>
                      <a:pt x="62157" y="0"/>
                      <a:pt x="62712" y="555"/>
                    </a:cubicBezTo>
                    <a:cubicBezTo>
                      <a:pt x="63267" y="1110"/>
                      <a:pt x="63267" y="1665"/>
                      <a:pt x="63267" y="3330"/>
                    </a:cubicBezTo>
                    <a:cubicBezTo>
                      <a:pt x="63267" y="4440"/>
                      <a:pt x="62712" y="7215"/>
                      <a:pt x="62157" y="11654"/>
                    </a:cubicBezTo>
                    <a:cubicBezTo>
                      <a:pt x="61602" y="16649"/>
                      <a:pt x="61047" y="22754"/>
                      <a:pt x="61047" y="30524"/>
                    </a:cubicBezTo>
                    <a:cubicBezTo>
                      <a:pt x="61047" y="36628"/>
                      <a:pt x="61047" y="43288"/>
                      <a:pt x="61602" y="50503"/>
                    </a:cubicBezTo>
                    <a:lnTo>
                      <a:pt x="61602" y="57162"/>
                    </a:lnTo>
                    <a:cubicBezTo>
                      <a:pt x="68817" y="56052"/>
                      <a:pt x="83246" y="53278"/>
                      <a:pt x="104890" y="48283"/>
                    </a:cubicBezTo>
                    <a:cubicBezTo>
                      <a:pt x="106000" y="47728"/>
                      <a:pt x="107110" y="46618"/>
                      <a:pt x="108220" y="44953"/>
                    </a:cubicBezTo>
                    <a:cubicBezTo>
                      <a:pt x="109330" y="43288"/>
                      <a:pt x="109885" y="42178"/>
                      <a:pt x="110995" y="42178"/>
                    </a:cubicBezTo>
                    <a:cubicBezTo>
                      <a:pt x="112660" y="42178"/>
                      <a:pt x="114880" y="43288"/>
                      <a:pt x="116545" y="44953"/>
                    </a:cubicBezTo>
                    <a:cubicBezTo>
                      <a:pt x="118210" y="47173"/>
                      <a:pt x="119320" y="48838"/>
                      <a:pt x="119320" y="51058"/>
                    </a:cubicBezTo>
                    <a:cubicBezTo>
                      <a:pt x="119320" y="53278"/>
                      <a:pt x="118210" y="55498"/>
                      <a:pt x="115990" y="5716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D6B9FA15-6D6A-48F5-8791-9544CF8A1F41}"/>
                  </a:ext>
                </a:extLst>
              </p:cNvPr>
              <p:cNvSpPr/>
              <p:nvPr/>
            </p:nvSpPr>
            <p:spPr>
              <a:xfrm>
                <a:off x="7300296" y="3860770"/>
                <a:ext cx="158722" cy="128199"/>
              </a:xfrm>
              <a:custGeom>
                <a:avLst/>
                <a:gdLst>
                  <a:gd name="connsiteX0" fmla="*/ 152618 w 158722"/>
                  <a:gd name="connsiteY0" fmla="*/ 66042 h 128199"/>
                  <a:gd name="connsiteX1" fmla="*/ 137634 w 158722"/>
                  <a:gd name="connsiteY1" fmla="*/ 102670 h 128199"/>
                  <a:gd name="connsiteX2" fmla="*/ 123759 w 158722"/>
                  <a:gd name="connsiteY2" fmla="*/ 116545 h 128199"/>
                  <a:gd name="connsiteX3" fmla="*/ 109885 w 158722"/>
                  <a:gd name="connsiteY3" fmla="*/ 102670 h 128199"/>
                  <a:gd name="connsiteX4" fmla="*/ 98786 w 158722"/>
                  <a:gd name="connsiteY4" fmla="*/ 68817 h 128199"/>
                  <a:gd name="connsiteX5" fmla="*/ 93791 w 158722"/>
                  <a:gd name="connsiteY5" fmla="*/ 32744 h 128199"/>
                  <a:gd name="connsiteX6" fmla="*/ 79917 w 158722"/>
                  <a:gd name="connsiteY6" fmla="*/ 61602 h 128199"/>
                  <a:gd name="connsiteX7" fmla="*/ 68262 w 158722"/>
                  <a:gd name="connsiteY7" fmla="*/ 88796 h 128199"/>
                  <a:gd name="connsiteX8" fmla="*/ 56608 w 158722"/>
                  <a:gd name="connsiteY8" fmla="*/ 122650 h 128199"/>
                  <a:gd name="connsiteX9" fmla="*/ 56052 w 158722"/>
                  <a:gd name="connsiteY9" fmla="*/ 124869 h 128199"/>
                  <a:gd name="connsiteX10" fmla="*/ 54943 w 158722"/>
                  <a:gd name="connsiteY10" fmla="*/ 127644 h 128199"/>
                  <a:gd name="connsiteX11" fmla="*/ 52168 w 158722"/>
                  <a:gd name="connsiteY11" fmla="*/ 128199 h 128199"/>
                  <a:gd name="connsiteX12" fmla="*/ 46618 w 158722"/>
                  <a:gd name="connsiteY12" fmla="*/ 126534 h 128199"/>
                  <a:gd name="connsiteX13" fmla="*/ 43288 w 158722"/>
                  <a:gd name="connsiteY13" fmla="*/ 121540 h 128199"/>
                  <a:gd name="connsiteX14" fmla="*/ 41068 w 158722"/>
                  <a:gd name="connsiteY14" fmla="*/ 111550 h 128199"/>
                  <a:gd name="connsiteX15" fmla="*/ 31634 w 158722"/>
                  <a:gd name="connsiteY15" fmla="*/ 66042 h 128199"/>
                  <a:gd name="connsiteX16" fmla="*/ 20534 w 158722"/>
                  <a:gd name="connsiteY16" fmla="*/ 29414 h 128199"/>
                  <a:gd name="connsiteX17" fmla="*/ 12210 w 158722"/>
                  <a:gd name="connsiteY17" fmla="*/ 14984 h 128199"/>
                  <a:gd name="connsiteX18" fmla="*/ 9435 w 158722"/>
                  <a:gd name="connsiteY18" fmla="*/ 16649 h 128199"/>
                  <a:gd name="connsiteX19" fmla="*/ 5550 w 158722"/>
                  <a:gd name="connsiteY19" fmla="*/ 19424 h 128199"/>
                  <a:gd name="connsiteX20" fmla="*/ 2775 w 158722"/>
                  <a:gd name="connsiteY20" fmla="*/ 19979 h 128199"/>
                  <a:gd name="connsiteX21" fmla="*/ 0 w 158722"/>
                  <a:gd name="connsiteY21" fmla="*/ 16649 h 128199"/>
                  <a:gd name="connsiteX22" fmla="*/ 2775 w 158722"/>
                  <a:gd name="connsiteY22" fmla="*/ 10545 h 128199"/>
                  <a:gd name="connsiteX23" fmla="*/ 9435 w 158722"/>
                  <a:gd name="connsiteY23" fmla="*/ 3330 h 128199"/>
                  <a:gd name="connsiteX24" fmla="*/ 16094 w 158722"/>
                  <a:gd name="connsiteY24" fmla="*/ 0 h 128199"/>
                  <a:gd name="connsiteX25" fmla="*/ 19979 w 158722"/>
                  <a:gd name="connsiteY25" fmla="*/ 1110 h 128199"/>
                  <a:gd name="connsiteX26" fmla="*/ 23309 w 158722"/>
                  <a:gd name="connsiteY26" fmla="*/ 4440 h 128199"/>
                  <a:gd name="connsiteX27" fmla="*/ 32189 w 158722"/>
                  <a:gd name="connsiteY27" fmla="*/ 23864 h 128199"/>
                  <a:gd name="connsiteX28" fmla="*/ 42178 w 158722"/>
                  <a:gd name="connsiteY28" fmla="*/ 60492 h 128199"/>
                  <a:gd name="connsiteX29" fmla="*/ 52168 w 158722"/>
                  <a:gd name="connsiteY29" fmla="*/ 103225 h 128199"/>
                  <a:gd name="connsiteX30" fmla="*/ 72702 w 158722"/>
                  <a:gd name="connsiteY30" fmla="*/ 51613 h 128199"/>
                  <a:gd name="connsiteX31" fmla="*/ 93791 w 158722"/>
                  <a:gd name="connsiteY31" fmla="*/ 8880 h 128199"/>
                  <a:gd name="connsiteX32" fmla="*/ 103780 w 158722"/>
                  <a:gd name="connsiteY32" fmla="*/ 555 h 128199"/>
                  <a:gd name="connsiteX33" fmla="*/ 109330 w 158722"/>
                  <a:gd name="connsiteY33" fmla="*/ 2775 h 128199"/>
                  <a:gd name="connsiteX34" fmla="*/ 111550 w 158722"/>
                  <a:gd name="connsiteY34" fmla="*/ 6660 h 128199"/>
                  <a:gd name="connsiteX35" fmla="*/ 110440 w 158722"/>
                  <a:gd name="connsiteY35" fmla="*/ 8880 h 128199"/>
                  <a:gd name="connsiteX36" fmla="*/ 108220 w 158722"/>
                  <a:gd name="connsiteY36" fmla="*/ 11100 h 128199"/>
                  <a:gd name="connsiteX37" fmla="*/ 105445 w 158722"/>
                  <a:gd name="connsiteY37" fmla="*/ 17204 h 128199"/>
                  <a:gd name="connsiteX38" fmla="*/ 104335 w 158722"/>
                  <a:gd name="connsiteY38" fmla="*/ 27749 h 128199"/>
                  <a:gd name="connsiteX39" fmla="*/ 107110 w 158722"/>
                  <a:gd name="connsiteY39" fmla="*/ 54388 h 128199"/>
                  <a:gd name="connsiteX40" fmla="*/ 115435 w 158722"/>
                  <a:gd name="connsiteY40" fmla="*/ 87131 h 128199"/>
                  <a:gd name="connsiteX41" fmla="*/ 126534 w 158722"/>
                  <a:gd name="connsiteY41" fmla="*/ 101561 h 128199"/>
                  <a:gd name="connsiteX42" fmla="*/ 135414 w 158722"/>
                  <a:gd name="connsiteY42" fmla="*/ 89351 h 128199"/>
                  <a:gd name="connsiteX43" fmla="*/ 144848 w 158722"/>
                  <a:gd name="connsiteY43" fmla="*/ 59382 h 128199"/>
                  <a:gd name="connsiteX44" fmla="*/ 148733 w 158722"/>
                  <a:gd name="connsiteY44" fmla="*/ 24974 h 128199"/>
                  <a:gd name="connsiteX45" fmla="*/ 145404 w 158722"/>
                  <a:gd name="connsiteY45" fmla="*/ 17204 h 128199"/>
                  <a:gd name="connsiteX46" fmla="*/ 142629 w 158722"/>
                  <a:gd name="connsiteY46" fmla="*/ 11654 h 128199"/>
                  <a:gd name="connsiteX47" fmla="*/ 144848 w 158722"/>
                  <a:gd name="connsiteY47" fmla="*/ 7215 h 128199"/>
                  <a:gd name="connsiteX48" fmla="*/ 149843 w 158722"/>
                  <a:gd name="connsiteY48" fmla="*/ 4440 h 128199"/>
                  <a:gd name="connsiteX49" fmla="*/ 155948 w 158722"/>
                  <a:gd name="connsiteY49" fmla="*/ 9435 h 128199"/>
                  <a:gd name="connsiteX50" fmla="*/ 158723 w 158722"/>
                  <a:gd name="connsiteY50" fmla="*/ 19424 h 128199"/>
                  <a:gd name="connsiteX51" fmla="*/ 152618 w 158722"/>
                  <a:gd name="connsiteY51" fmla="*/ 66042 h 12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58722" h="128199">
                    <a:moveTo>
                      <a:pt x="152618" y="66042"/>
                    </a:moveTo>
                    <a:cubicBezTo>
                      <a:pt x="148178" y="81026"/>
                      <a:pt x="143184" y="93236"/>
                      <a:pt x="137634" y="102670"/>
                    </a:cubicBezTo>
                    <a:cubicBezTo>
                      <a:pt x="132084" y="112105"/>
                      <a:pt x="127644" y="116545"/>
                      <a:pt x="123759" y="116545"/>
                    </a:cubicBezTo>
                    <a:cubicBezTo>
                      <a:pt x="118765" y="116545"/>
                      <a:pt x="114325" y="112105"/>
                      <a:pt x="109885" y="102670"/>
                    </a:cubicBezTo>
                    <a:cubicBezTo>
                      <a:pt x="105445" y="93236"/>
                      <a:pt x="102116" y="82136"/>
                      <a:pt x="98786" y="68817"/>
                    </a:cubicBezTo>
                    <a:cubicBezTo>
                      <a:pt x="96011" y="55498"/>
                      <a:pt x="94346" y="43288"/>
                      <a:pt x="93791" y="32744"/>
                    </a:cubicBezTo>
                    <a:cubicBezTo>
                      <a:pt x="89351" y="41068"/>
                      <a:pt x="84911" y="50503"/>
                      <a:pt x="79917" y="61602"/>
                    </a:cubicBezTo>
                    <a:cubicBezTo>
                      <a:pt x="74922" y="72147"/>
                      <a:pt x="71037" y="81026"/>
                      <a:pt x="68262" y="88796"/>
                    </a:cubicBezTo>
                    <a:cubicBezTo>
                      <a:pt x="63822" y="100451"/>
                      <a:pt x="59937" y="111550"/>
                      <a:pt x="56608" y="122650"/>
                    </a:cubicBezTo>
                    <a:cubicBezTo>
                      <a:pt x="56608" y="123205"/>
                      <a:pt x="56052" y="123760"/>
                      <a:pt x="56052" y="124869"/>
                    </a:cubicBezTo>
                    <a:cubicBezTo>
                      <a:pt x="55498" y="125979"/>
                      <a:pt x="55498" y="127089"/>
                      <a:pt x="54943" y="127644"/>
                    </a:cubicBezTo>
                    <a:cubicBezTo>
                      <a:pt x="54388" y="128199"/>
                      <a:pt x="53278" y="128199"/>
                      <a:pt x="52168" y="128199"/>
                    </a:cubicBezTo>
                    <a:cubicBezTo>
                      <a:pt x="49948" y="128199"/>
                      <a:pt x="47728" y="127644"/>
                      <a:pt x="46618" y="126534"/>
                    </a:cubicBezTo>
                    <a:cubicBezTo>
                      <a:pt x="45508" y="125424"/>
                      <a:pt x="44398" y="123760"/>
                      <a:pt x="43288" y="121540"/>
                    </a:cubicBezTo>
                    <a:lnTo>
                      <a:pt x="41068" y="111550"/>
                    </a:lnTo>
                    <a:cubicBezTo>
                      <a:pt x="38293" y="95456"/>
                      <a:pt x="34963" y="80471"/>
                      <a:pt x="31634" y="66042"/>
                    </a:cubicBezTo>
                    <a:cubicBezTo>
                      <a:pt x="28304" y="51058"/>
                      <a:pt x="24419" y="38848"/>
                      <a:pt x="20534" y="29414"/>
                    </a:cubicBezTo>
                    <a:cubicBezTo>
                      <a:pt x="16649" y="19979"/>
                      <a:pt x="13874" y="14984"/>
                      <a:pt x="12210" y="14984"/>
                    </a:cubicBezTo>
                    <a:cubicBezTo>
                      <a:pt x="11654" y="14984"/>
                      <a:pt x="10545" y="15539"/>
                      <a:pt x="9435" y="16649"/>
                    </a:cubicBezTo>
                    <a:cubicBezTo>
                      <a:pt x="8325" y="17759"/>
                      <a:pt x="6660" y="18314"/>
                      <a:pt x="5550" y="19424"/>
                    </a:cubicBezTo>
                    <a:cubicBezTo>
                      <a:pt x="4440" y="19979"/>
                      <a:pt x="3330" y="19979"/>
                      <a:pt x="2775" y="19979"/>
                    </a:cubicBezTo>
                    <a:cubicBezTo>
                      <a:pt x="555" y="18869"/>
                      <a:pt x="0" y="17759"/>
                      <a:pt x="0" y="16649"/>
                    </a:cubicBezTo>
                    <a:cubicBezTo>
                      <a:pt x="0" y="15539"/>
                      <a:pt x="1110" y="13319"/>
                      <a:pt x="2775" y="10545"/>
                    </a:cubicBezTo>
                    <a:cubicBezTo>
                      <a:pt x="4995" y="7770"/>
                      <a:pt x="7215" y="5550"/>
                      <a:pt x="9435" y="3330"/>
                    </a:cubicBezTo>
                    <a:cubicBezTo>
                      <a:pt x="11654" y="1110"/>
                      <a:pt x="14429" y="0"/>
                      <a:pt x="16094" y="0"/>
                    </a:cubicBezTo>
                    <a:cubicBezTo>
                      <a:pt x="17759" y="0"/>
                      <a:pt x="18869" y="555"/>
                      <a:pt x="19979" y="1110"/>
                    </a:cubicBezTo>
                    <a:cubicBezTo>
                      <a:pt x="21089" y="1665"/>
                      <a:pt x="22199" y="2775"/>
                      <a:pt x="23309" y="4440"/>
                    </a:cubicBezTo>
                    <a:cubicBezTo>
                      <a:pt x="25529" y="7215"/>
                      <a:pt x="28304" y="13874"/>
                      <a:pt x="32189" y="23864"/>
                    </a:cubicBezTo>
                    <a:cubicBezTo>
                      <a:pt x="36073" y="33853"/>
                      <a:pt x="39403" y="46063"/>
                      <a:pt x="42178" y="60492"/>
                    </a:cubicBezTo>
                    <a:lnTo>
                      <a:pt x="52168" y="103225"/>
                    </a:lnTo>
                    <a:cubicBezTo>
                      <a:pt x="59382" y="82691"/>
                      <a:pt x="66597" y="65487"/>
                      <a:pt x="72702" y="51613"/>
                    </a:cubicBezTo>
                    <a:cubicBezTo>
                      <a:pt x="78807" y="37738"/>
                      <a:pt x="86021" y="23864"/>
                      <a:pt x="93791" y="8880"/>
                    </a:cubicBezTo>
                    <a:cubicBezTo>
                      <a:pt x="97121" y="3330"/>
                      <a:pt x="99896" y="555"/>
                      <a:pt x="103780" y="555"/>
                    </a:cubicBezTo>
                    <a:cubicBezTo>
                      <a:pt x="106000" y="555"/>
                      <a:pt x="107665" y="1110"/>
                      <a:pt x="109330" y="2775"/>
                    </a:cubicBezTo>
                    <a:cubicBezTo>
                      <a:pt x="110995" y="4440"/>
                      <a:pt x="111550" y="5550"/>
                      <a:pt x="111550" y="6660"/>
                    </a:cubicBezTo>
                    <a:cubicBezTo>
                      <a:pt x="111550" y="7215"/>
                      <a:pt x="110995" y="7770"/>
                      <a:pt x="110440" y="8880"/>
                    </a:cubicBezTo>
                    <a:cubicBezTo>
                      <a:pt x="109885" y="9990"/>
                      <a:pt x="108775" y="10545"/>
                      <a:pt x="108220" y="11100"/>
                    </a:cubicBezTo>
                    <a:cubicBezTo>
                      <a:pt x="107110" y="12764"/>
                      <a:pt x="106000" y="14984"/>
                      <a:pt x="105445" y="17204"/>
                    </a:cubicBezTo>
                    <a:cubicBezTo>
                      <a:pt x="104890" y="19424"/>
                      <a:pt x="104335" y="22754"/>
                      <a:pt x="104335" y="27749"/>
                    </a:cubicBezTo>
                    <a:cubicBezTo>
                      <a:pt x="104335" y="33299"/>
                      <a:pt x="105445" y="42178"/>
                      <a:pt x="107110" y="54388"/>
                    </a:cubicBezTo>
                    <a:cubicBezTo>
                      <a:pt x="109330" y="66597"/>
                      <a:pt x="112105" y="77142"/>
                      <a:pt x="115435" y="87131"/>
                    </a:cubicBezTo>
                    <a:cubicBezTo>
                      <a:pt x="118765" y="96566"/>
                      <a:pt x="122649" y="101561"/>
                      <a:pt x="126534" y="101561"/>
                    </a:cubicBezTo>
                    <a:cubicBezTo>
                      <a:pt x="128754" y="101561"/>
                      <a:pt x="132084" y="97676"/>
                      <a:pt x="135414" y="89351"/>
                    </a:cubicBezTo>
                    <a:cubicBezTo>
                      <a:pt x="138744" y="81026"/>
                      <a:pt x="142074" y="71037"/>
                      <a:pt x="144848" y="59382"/>
                    </a:cubicBezTo>
                    <a:cubicBezTo>
                      <a:pt x="147623" y="47728"/>
                      <a:pt x="148733" y="36073"/>
                      <a:pt x="148733" y="24974"/>
                    </a:cubicBezTo>
                    <a:cubicBezTo>
                      <a:pt x="148733" y="22754"/>
                      <a:pt x="147623" y="19979"/>
                      <a:pt x="145404" y="17204"/>
                    </a:cubicBezTo>
                    <a:cubicBezTo>
                      <a:pt x="143739" y="14984"/>
                      <a:pt x="142629" y="12764"/>
                      <a:pt x="142629" y="11654"/>
                    </a:cubicBezTo>
                    <a:cubicBezTo>
                      <a:pt x="142629" y="10545"/>
                      <a:pt x="143184" y="9435"/>
                      <a:pt x="144848" y="7215"/>
                    </a:cubicBezTo>
                    <a:cubicBezTo>
                      <a:pt x="146514" y="5550"/>
                      <a:pt x="148178" y="4440"/>
                      <a:pt x="149843" y="4440"/>
                    </a:cubicBezTo>
                    <a:cubicBezTo>
                      <a:pt x="152063" y="4440"/>
                      <a:pt x="153728" y="6105"/>
                      <a:pt x="155948" y="9435"/>
                    </a:cubicBezTo>
                    <a:cubicBezTo>
                      <a:pt x="157613" y="12764"/>
                      <a:pt x="158723" y="16094"/>
                      <a:pt x="158723" y="19424"/>
                    </a:cubicBezTo>
                    <a:cubicBezTo>
                      <a:pt x="158723" y="35518"/>
                      <a:pt x="156503" y="51058"/>
                      <a:pt x="152618" y="6604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1954E6BF-4268-4ED4-BB8B-5D81C6D5676D}"/>
                  </a:ext>
                </a:extLst>
              </p:cNvPr>
              <p:cNvSpPr/>
              <p:nvPr/>
            </p:nvSpPr>
            <p:spPr>
              <a:xfrm>
                <a:off x="7478998" y="3866320"/>
                <a:ext cx="87686" cy="110995"/>
              </a:xfrm>
              <a:custGeom>
                <a:avLst/>
                <a:gdLst>
                  <a:gd name="connsiteX0" fmla="*/ 81026 w 87686"/>
                  <a:gd name="connsiteY0" fmla="*/ 81026 h 110995"/>
                  <a:gd name="connsiteX1" fmla="*/ 61047 w 87686"/>
                  <a:gd name="connsiteY1" fmla="*/ 102115 h 110995"/>
                  <a:gd name="connsiteX2" fmla="*/ 31634 w 87686"/>
                  <a:gd name="connsiteY2" fmla="*/ 110995 h 110995"/>
                  <a:gd name="connsiteX3" fmla="*/ 7769 w 87686"/>
                  <a:gd name="connsiteY3" fmla="*/ 102115 h 110995"/>
                  <a:gd name="connsiteX4" fmla="*/ 0 w 87686"/>
                  <a:gd name="connsiteY4" fmla="*/ 79916 h 110995"/>
                  <a:gd name="connsiteX5" fmla="*/ 4440 w 87686"/>
                  <a:gd name="connsiteY5" fmla="*/ 51058 h 110995"/>
                  <a:gd name="connsiteX6" fmla="*/ 16649 w 87686"/>
                  <a:gd name="connsiteY6" fmla="*/ 19979 h 110995"/>
                  <a:gd name="connsiteX7" fmla="*/ 20534 w 87686"/>
                  <a:gd name="connsiteY7" fmla="*/ 12764 h 110995"/>
                  <a:gd name="connsiteX8" fmla="*/ 28304 w 87686"/>
                  <a:gd name="connsiteY8" fmla="*/ 3330 h 110995"/>
                  <a:gd name="connsiteX9" fmla="*/ 37738 w 87686"/>
                  <a:gd name="connsiteY9" fmla="*/ 0 h 110995"/>
                  <a:gd name="connsiteX10" fmla="*/ 41623 w 87686"/>
                  <a:gd name="connsiteY10" fmla="*/ 1110 h 110995"/>
                  <a:gd name="connsiteX11" fmla="*/ 43288 w 87686"/>
                  <a:gd name="connsiteY11" fmla="*/ 3885 h 110995"/>
                  <a:gd name="connsiteX12" fmla="*/ 42178 w 87686"/>
                  <a:gd name="connsiteY12" fmla="*/ 6105 h 110995"/>
                  <a:gd name="connsiteX13" fmla="*/ 39958 w 87686"/>
                  <a:gd name="connsiteY13" fmla="*/ 8880 h 110995"/>
                  <a:gd name="connsiteX14" fmla="*/ 26639 w 87686"/>
                  <a:gd name="connsiteY14" fmla="*/ 28304 h 110995"/>
                  <a:gd name="connsiteX15" fmla="*/ 16094 w 87686"/>
                  <a:gd name="connsiteY15" fmla="*/ 52723 h 110995"/>
                  <a:gd name="connsiteX16" fmla="*/ 12210 w 87686"/>
                  <a:gd name="connsiteY16" fmla="*/ 79362 h 110995"/>
                  <a:gd name="connsiteX17" fmla="*/ 35518 w 87686"/>
                  <a:gd name="connsiteY17" fmla="*/ 98786 h 110995"/>
                  <a:gd name="connsiteX18" fmla="*/ 56052 w 87686"/>
                  <a:gd name="connsiteY18" fmla="*/ 92681 h 110995"/>
                  <a:gd name="connsiteX19" fmla="*/ 71037 w 87686"/>
                  <a:gd name="connsiteY19" fmla="*/ 77142 h 110995"/>
                  <a:gd name="connsiteX20" fmla="*/ 76587 w 87686"/>
                  <a:gd name="connsiteY20" fmla="*/ 60492 h 110995"/>
                  <a:gd name="connsiteX21" fmla="*/ 71037 w 87686"/>
                  <a:gd name="connsiteY21" fmla="*/ 45508 h 110995"/>
                  <a:gd name="connsiteX22" fmla="*/ 55498 w 87686"/>
                  <a:gd name="connsiteY22" fmla="*/ 32189 h 110995"/>
                  <a:gd name="connsiteX23" fmla="*/ 46063 w 87686"/>
                  <a:gd name="connsiteY23" fmla="*/ 24419 h 110995"/>
                  <a:gd name="connsiteX24" fmla="*/ 43288 w 87686"/>
                  <a:gd name="connsiteY24" fmla="*/ 19424 h 110995"/>
                  <a:gd name="connsiteX25" fmla="*/ 47173 w 87686"/>
                  <a:gd name="connsiteY25" fmla="*/ 14429 h 110995"/>
                  <a:gd name="connsiteX26" fmla="*/ 57162 w 87686"/>
                  <a:gd name="connsiteY26" fmla="*/ 12764 h 110995"/>
                  <a:gd name="connsiteX27" fmla="*/ 61047 w 87686"/>
                  <a:gd name="connsiteY27" fmla="*/ 13319 h 110995"/>
                  <a:gd name="connsiteX28" fmla="*/ 62157 w 87686"/>
                  <a:gd name="connsiteY28" fmla="*/ 14429 h 110995"/>
                  <a:gd name="connsiteX29" fmla="*/ 61047 w 87686"/>
                  <a:gd name="connsiteY29" fmla="*/ 16094 h 110995"/>
                  <a:gd name="connsiteX30" fmla="*/ 59937 w 87686"/>
                  <a:gd name="connsiteY30" fmla="*/ 17759 h 110995"/>
                  <a:gd name="connsiteX31" fmla="*/ 64932 w 87686"/>
                  <a:gd name="connsiteY31" fmla="*/ 22754 h 110995"/>
                  <a:gd name="connsiteX32" fmla="*/ 81026 w 87686"/>
                  <a:gd name="connsiteY32" fmla="*/ 38848 h 110995"/>
                  <a:gd name="connsiteX33" fmla="*/ 87686 w 87686"/>
                  <a:gd name="connsiteY33" fmla="*/ 58272 h 110995"/>
                  <a:gd name="connsiteX34" fmla="*/ 81026 w 87686"/>
                  <a:gd name="connsiteY34" fmla="*/ 81026 h 110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686" h="110995">
                    <a:moveTo>
                      <a:pt x="81026" y="81026"/>
                    </a:moveTo>
                    <a:cubicBezTo>
                      <a:pt x="76587" y="89351"/>
                      <a:pt x="69927" y="96566"/>
                      <a:pt x="61047" y="102115"/>
                    </a:cubicBezTo>
                    <a:cubicBezTo>
                      <a:pt x="52167" y="108220"/>
                      <a:pt x="42733" y="110995"/>
                      <a:pt x="31634" y="110995"/>
                    </a:cubicBezTo>
                    <a:cubicBezTo>
                      <a:pt x="20534" y="110995"/>
                      <a:pt x="12764" y="108220"/>
                      <a:pt x="7769" y="102115"/>
                    </a:cubicBezTo>
                    <a:cubicBezTo>
                      <a:pt x="2775" y="96011"/>
                      <a:pt x="0" y="88796"/>
                      <a:pt x="0" y="79916"/>
                    </a:cubicBezTo>
                    <a:cubicBezTo>
                      <a:pt x="0" y="72147"/>
                      <a:pt x="1665" y="62712"/>
                      <a:pt x="4440" y="51058"/>
                    </a:cubicBezTo>
                    <a:cubicBezTo>
                      <a:pt x="7215" y="39403"/>
                      <a:pt x="11100" y="29414"/>
                      <a:pt x="16649" y="19979"/>
                    </a:cubicBezTo>
                    <a:cubicBezTo>
                      <a:pt x="17204" y="19424"/>
                      <a:pt x="18314" y="17204"/>
                      <a:pt x="20534" y="12764"/>
                    </a:cubicBezTo>
                    <a:cubicBezTo>
                      <a:pt x="22754" y="8880"/>
                      <a:pt x="25529" y="5550"/>
                      <a:pt x="28304" y="3330"/>
                    </a:cubicBezTo>
                    <a:cubicBezTo>
                      <a:pt x="31078" y="1110"/>
                      <a:pt x="34409" y="0"/>
                      <a:pt x="37738" y="0"/>
                    </a:cubicBezTo>
                    <a:cubicBezTo>
                      <a:pt x="39403" y="0"/>
                      <a:pt x="40513" y="555"/>
                      <a:pt x="41623" y="1110"/>
                    </a:cubicBezTo>
                    <a:cubicBezTo>
                      <a:pt x="42733" y="1665"/>
                      <a:pt x="43288" y="2775"/>
                      <a:pt x="43288" y="3885"/>
                    </a:cubicBezTo>
                    <a:cubicBezTo>
                      <a:pt x="43288" y="4440"/>
                      <a:pt x="42733" y="4995"/>
                      <a:pt x="42178" y="6105"/>
                    </a:cubicBezTo>
                    <a:cubicBezTo>
                      <a:pt x="41068" y="7215"/>
                      <a:pt x="40513" y="8325"/>
                      <a:pt x="39958" y="8880"/>
                    </a:cubicBezTo>
                    <a:cubicBezTo>
                      <a:pt x="34409" y="15539"/>
                      <a:pt x="29968" y="22199"/>
                      <a:pt x="26639" y="28304"/>
                    </a:cubicBezTo>
                    <a:cubicBezTo>
                      <a:pt x="22199" y="36628"/>
                      <a:pt x="18314" y="44953"/>
                      <a:pt x="16094" y="52723"/>
                    </a:cubicBezTo>
                    <a:cubicBezTo>
                      <a:pt x="13319" y="61047"/>
                      <a:pt x="12210" y="69927"/>
                      <a:pt x="12210" y="79362"/>
                    </a:cubicBezTo>
                    <a:cubicBezTo>
                      <a:pt x="12210" y="92126"/>
                      <a:pt x="19979" y="98786"/>
                      <a:pt x="35518" y="98786"/>
                    </a:cubicBezTo>
                    <a:cubicBezTo>
                      <a:pt x="42733" y="98786"/>
                      <a:pt x="49393" y="96566"/>
                      <a:pt x="56052" y="92681"/>
                    </a:cubicBezTo>
                    <a:cubicBezTo>
                      <a:pt x="62157" y="88241"/>
                      <a:pt x="67152" y="83246"/>
                      <a:pt x="71037" y="77142"/>
                    </a:cubicBezTo>
                    <a:cubicBezTo>
                      <a:pt x="74922" y="71037"/>
                      <a:pt x="76587" y="65487"/>
                      <a:pt x="76587" y="60492"/>
                    </a:cubicBezTo>
                    <a:cubicBezTo>
                      <a:pt x="76587" y="54943"/>
                      <a:pt x="74922" y="49948"/>
                      <a:pt x="71037" y="45508"/>
                    </a:cubicBezTo>
                    <a:cubicBezTo>
                      <a:pt x="67152" y="41068"/>
                      <a:pt x="62157" y="36628"/>
                      <a:pt x="55498" y="32189"/>
                    </a:cubicBezTo>
                    <a:cubicBezTo>
                      <a:pt x="51058" y="28859"/>
                      <a:pt x="48283" y="26639"/>
                      <a:pt x="46063" y="24419"/>
                    </a:cubicBezTo>
                    <a:cubicBezTo>
                      <a:pt x="44398" y="22754"/>
                      <a:pt x="43288" y="21089"/>
                      <a:pt x="43288" y="19424"/>
                    </a:cubicBezTo>
                    <a:cubicBezTo>
                      <a:pt x="43288" y="17204"/>
                      <a:pt x="44398" y="16094"/>
                      <a:pt x="47173" y="14429"/>
                    </a:cubicBezTo>
                    <a:cubicBezTo>
                      <a:pt x="49948" y="13319"/>
                      <a:pt x="53278" y="12764"/>
                      <a:pt x="57162" y="12764"/>
                    </a:cubicBezTo>
                    <a:cubicBezTo>
                      <a:pt x="59382" y="12764"/>
                      <a:pt x="60492" y="12764"/>
                      <a:pt x="61047" y="13319"/>
                    </a:cubicBezTo>
                    <a:cubicBezTo>
                      <a:pt x="61602" y="13319"/>
                      <a:pt x="62157" y="13874"/>
                      <a:pt x="62157" y="14429"/>
                    </a:cubicBezTo>
                    <a:cubicBezTo>
                      <a:pt x="62157" y="14984"/>
                      <a:pt x="61602" y="15539"/>
                      <a:pt x="61047" y="16094"/>
                    </a:cubicBezTo>
                    <a:cubicBezTo>
                      <a:pt x="60492" y="16649"/>
                      <a:pt x="59937" y="17204"/>
                      <a:pt x="59937" y="17759"/>
                    </a:cubicBezTo>
                    <a:cubicBezTo>
                      <a:pt x="59937" y="18314"/>
                      <a:pt x="61602" y="19979"/>
                      <a:pt x="64932" y="22754"/>
                    </a:cubicBezTo>
                    <a:cubicBezTo>
                      <a:pt x="71592" y="28304"/>
                      <a:pt x="76587" y="33299"/>
                      <a:pt x="81026" y="38848"/>
                    </a:cubicBezTo>
                    <a:cubicBezTo>
                      <a:pt x="85466" y="44398"/>
                      <a:pt x="87686" y="51058"/>
                      <a:pt x="87686" y="58272"/>
                    </a:cubicBezTo>
                    <a:cubicBezTo>
                      <a:pt x="87686" y="65487"/>
                      <a:pt x="85466" y="72702"/>
                      <a:pt x="81026" y="81026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E769933-56FE-4AD7-850D-64E441EE46D5}"/>
                  </a:ext>
                </a:extLst>
              </p:cNvPr>
              <p:cNvSpPr/>
              <p:nvPr/>
            </p:nvSpPr>
            <p:spPr>
              <a:xfrm>
                <a:off x="7589993" y="3857995"/>
                <a:ext cx="79916" cy="123204"/>
              </a:xfrm>
              <a:custGeom>
                <a:avLst/>
                <a:gdLst>
                  <a:gd name="connsiteX0" fmla="*/ 77141 w 79916"/>
                  <a:gd name="connsiteY0" fmla="*/ 20534 h 123204"/>
                  <a:gd name="connsiteX1" fmla="*/ 72147 w 79916"/>
                  <a:gd name="connsiteY1" fmla="*/ 23309 h 123204"/>
                  <a:gd name="connsiteX2" fmla="*/ 68817 w 79916"/>
                  <a:gd name="connsiteY2" fmla="*/ 21644 h 123204"/>
                  <a:gd name="connsiteX3" fmla="*/ 65487 w 79916"/>
                  <a:gd name="connsiteY3" fmla="*/ 17759 h 123204"/>
                  <a:gd name="connsiteX4" fmla="*/ 61047 w 79916"/>
                  <a:gd name="connsiteY4" fmla="*/ 13874 h 123204"/>
                  <a:gd name="connsiteX5" fmla="*/ 55498 w 79916"/>
                  <a:gd name="connsiteY5" fmla="*/ 12209 h 123204"/>
                  <a:gd name="connsiteX6" fmla="*/ 36628 w 79916"/>
                  <a:gd name="connsiteY6" fmla="*/ 31079 h 123204"/>
                  <a:gd name="connsiteX7" fmla="*/ 13319 w 79916"/>
                  <a:gd name="connsiteY7" fmla="*/ 77697 h 123204"/>
                  <a:gd name="connsiteX8" fmla="*/ 14429 w 79916"/>
                  <a:gd name="connsiteY8" fmla="*/ 91571 h 123204"/>
                  <a:gd name="connsiteX9" fmla="*/ 15539 w 79916"/>
                  <a:gd name="connsiteY9" fmla="*/ 104335 h 123204"/>
                  <a:gd name="connsiteX10" fmla="*/ 16094 w 79916"/>
                  <a:gd name="connsiteY10" fmla="*/ 114325 h 123204"/>
                  <a:gd name="connsiteX11" fmla="*/ 14429 w 79916"/>
                  <a:gd name="connsiteY11" fmla="*/ 120430 h 123204"/>
                  <a:gd name="connsiteX12" fmla="*/ 8879 w 79916"/>
                  <a:gd name="connsiteY12" fmla="*/ 123205 h 123204"/>
                  <a:gd name="connsiteX13" fmla="*/ 3330 w 79916"/>
                  <a:gd name="connsiteY13" fmla="*/ 112105 h 123204"/>
                  <a:gd name="connsiteX14" fmla="*/ 1665 w 79916"/>
                  <a:gd name="connsiteY14" fmla="*/ 79916 h 123204"/>
                  <a:gd name="connsiteX15" fmla="*/ 1110 w 79916"/>
                  <a:gd name="connsiteY15" fmla="*/ 64377 h 123204"/>
                  <a:gd name="connsiteX16" fmla="*/ 555 w 79916"/>
                  <a:gd name="connsiteY16" fmla="*/ 40513 h 123204"/>
                  <a:gd name="connsiteX17" fmla="*/ 0 w 79916"/>
                  <a:gd name="connsiteY17" fmla="*/ 10545 h 123204"/>
                  <a:gd name="connsiteX18" fmla="*/ 6660 w 79916"/>
                  <a:gd name="connsiteY18" fmla="*/ 4995 h 123204"/>
                  <a:gd name="connsiteX19" fmla="*/ 11654 w 79916"/>
                  <a:gd name="connsiteY19" fmla="*/ 8325 h 123204"/>
                  <a:gd name="connsiteX20" fmla="*/ 12764 w 79916"/>
                  <a:gd name="connsiteY20" fmla="*/ 21644 h 123204"/>
                  <a:gd name="connsiteX21" fmla="*/ 12764 w 79916"/>
                  <a:gd name="connsiteY21" fmla="*/ 60492 h 123204"/>
                  <a:gd name="connsiteX22" fmla="*/ 28304 w 79916"/>
                  <a:gd name="connsiteY22" fmla="*/ 28304 h 123204"/>
                  <a:gd name="connsiteX23" fmla="*/ 44953 w 79916"/>
                  <a:gd name="connsiteY23" fmla="*/ 7215 h 123204"/>
                  <a:gd name="connsiteX24" fmla="*/ 59382 w 79916"/>
                  <a:gd name="connsiteY24" fmla="*/ 0 h 123204"/>
                  <a:gd name="connsiteX25" fmla="*/ 69372 w 79916"/>
                  <a:gd name="connsiteY25" fmla="*/ 2220 h 123204"/>
                  <a:gd name="connsiteX26" fmla="*/ 77141 w 79916"/>
                  <a:gd name="connsiteY26" fmla="*/ 8325 h 123204"/>
                  <a:gd name="connsiteX27" fmla="*/ 79916 w 79916"/>
                  <a:gd name="connsiteY27" fmla="*/ 15539 h 123204"/>
                  <a:gd name="connsiteX28" fmla="*/ 77141 w 79916"/>
                  <a:gd name="connsiteY28" fmla="*/ 20534 h 12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916" h="123204">
                    <a:moveTo>
                      <a:pt x="77141" y="20534"/>
                    </a:moveTo>
                    <a:cubicBezTo>
                      <a:pt x="74922" y="22199"/>
                      <a:pt x="73257" y="23309"/>
                      <a:pt x="72147" y="23309"/>
                    </a:cubicBezTo>
                    <a:cubicBezTo>
                      <a:pt x="71037" y="23309"/>
                      <a:pt x="69927" y="22754"/>
                      <a:pt x="68817" y="21644"/>
                    </a:cubicBezTo>
                    <a:cubicBezTo>
                      <a:pt x="67707" y="20534"/>
                      <a:pt x="66597" y="19424"/>
                      <a:pt x="65487" y="17759"/>
                    </a:cubicBezTo>
                    <a:cubicBezTo>
                      <a:pt x="64377" y="16094"/>
                      <a:pt x="62712" y="14984"/>
                      <a:pt x="61047" y="13874"/>
                    </a:cubicBezTo>
                    <a:cubicBezTo>
                      <a:pt x="59382" y="12764"/>
                      <a:pt x="57162" y="12209"/>
                      <a:pt x="55498" y="12209"/>
                    </a:cubicBezTo>
                    <a:cubicBezTo>
                      <a:pt x="51058" y="12209"/>
                      <a:pt x="44398" y="18314"/>
                      <a:pt x="36628" y="31079"/>
                    </a:cubicBezTo>
                    <a:cubicBezTo>
                      <a:pt x="28859" y="43288"/>
                      <a:pt x="21089" y="59382"/>
                      <a:pt x="13319" y="77697"/>
                    </a:cubicBezTo>
                    <a:cubicBezTo>
                      <a:pt x="13319" y="81581"/>
                      <a:pt x="13874" y="86021"/>
                      <a:pt x="14429" y="91571"/>
                    </a:cubicBezTo>
                    <a:cubicBezTo>
                      <a:pt x="14984" y="97121"/>
                      <a:pt x="14984" y="101561"/>
                      <a:pt x="15539" y="104335"/>
                    </a:cubicBezTo>
                    <a:lnTo>
                      <a:pt x="16094" y="114325"/>
                    </a:lnTo>
                    <a:cubicBezTo>
                      <a:pt x="16094" y="116545"/>
                      <a:pt x="15539" y="118765"/>
                      <a:pt x="14429" y="120430"/>
                    </a:cubicBezTo>
                    <a:cubicBezTo>
                      <a:pt x="13319" y="122095"/>
                      <a:pt x="11654" y="123205"/>
                      <a:pt x="8879" y="123205"/>
                    </a:cubicBezTo>
                    <a:cubicBezTo>
                      <a:pt x="6105" y="123205"/>
                      <a:pt x="4440" y="119320"/>
                      <a:pt x="3330" y="112105"/>
                    </a:cubicBezTo>
                    <a:cubicBezTo>
                      <a:pt x="2775" y="104890"/>
                      <a:pt x="2220" y="93791"/>
                      <a:pt x="1665" y="79916"/>
                    </a:cubicBezTo>
                    <a:cubicBezTo>
                      <a:pt x="1665" y="76587"/>
                      <a:pt x="1110" y="71037"/>
                      <a:pt x="1110" y="64377"/>
                    </a:cubicBezTo>
                    <a:cubicBezTo>
                      <a:pt x="1110" y="57717"/>
                      <a:pt x="555" y="49948"/>
                      <a:pt x="555" y="40513"/>
                    </a:cubicBezTo>
                    <a:cubicBezTo>
                      <a:pt x="0" y="26639"/>
                      <a:pt x="0" y="16649"/>
                      <a:pt x="0" y="10545"/>
                    </a:cubicBezTo>
                    <a:cubicBezTo>
                      <a:pt x="0" y="6660"/>
                      <a:pt x="2220" y="4995"/>
                      <a:pt x="6660" y="4995"/>
                    </a:cubicBezTo>
                    <a:cubicBezTo>
                      <a:pt x="9435" y="4995"/>
                      <a:pt x="11100" y="6105"/>
                      <a:pt x="11654" y="8325"/>
                    </a:cubicBezTo>
                    <a:cubicBezTo>
                      <a:pt x="12210" y="10545"/>
                      <a:pt x="12764" y="14984"/>
                      <a:pt x="12764" y="21644"/>
                    </a:cubicBezTo>
                    <a:lnTo>
                      <a:pt x="12764" y="60492"/>
                    </a:lnTo>
                    <a:cubicBezTo>
                      <a:pt x="17759" y="48283"/>
                      <a:pt x="22754" y="37183"/>
                      <a:pt x="28304" y="28304"/>
                    </a:cubicBezTo>
                    <a:cubicBezTo>
                      <a:pt x="33853" y="19424"/>
                      <a:pt x="39403" y="12209"/>
                      <a:pt x="44953" y="7215"/>
                    </a:cubicBezTo>
                    <a:cubicBezTo>
                      <a:pt x="50503" y="2220"/>
                      <a:pt x="55498" y="0"/>
                      <a:pt x="59382" y="0"/>
                    </a:cubicBezTo>
                    <a:cubicBezTo>
                      <a:pt x="62712" y="0"/>
                      <a:pt x="66597" y="555"/>
                      <a:pt x="69372" y="2220"/>
                    </a:cubicBezTo>
                    <a:cubicBezTo>
                      <a:pt x="72702" y="3885"/>
                      <a:pt x="75477" y="6105"/>
                      <a:pt x="77141" y="8325"/>
                    </a:cubicBezTo>
                    <a:cubicBezTo>
                      <a:pt x="79361" y="11100"/>
                      <a:pt x="79916" y="13319"/>
                      <a:pt x="79916" y="15539"/>
                    </a:cubicBezTo>
                    <a:cubicBezTo>
                      <a:pt x="79916" y="17204"/>
                      <a:pt x="79361" y="18869"/>
                      <a:pt x="77141" y="20534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60306F70-8858-410F-A41A-BF99DE55E76A}"/>
                  </a:ext>
                </a:extLst>
              </p:cNvPr>
              <p:cNvSpPr/>
              <p:nvPr/>
            </p:nvSpPr>
            <p:spPr>
              <a:xfrm>
                <a:off x="7688778" y="3801388"/>
                <a:ext cx="109885" cy="182586"/>
              </a:xfrm>
              <a:custGeom>
                <a:avLst/>
                <a:gdLst>
                  <a:gd name="connsiteX0" fmla="*/ 106000 w 109885"/>
                  <a:gd name="connsiteY0" fmla="*/ 77142 h 182586"/>
                  <a:gd name="connsiteX1" fmla="*/ 99896 w 109885"/>
                  <a:gd name="connsiteY1" fmla="*/ 81026 h 182586"/>
                  <a:gd name="connsiteX2" fmla="*/ 95456 w 109885"/>
                  <a:gd name="connsiteY2" fmla="*/ 78807 h 182586"/>
                  <a:gd name="connsiteX3" fmla="*/ 92126 w 109885"/>
                  <a:gd name="connsiteY3" fmla="*/ 76587 h 182586"/>
                  <a:gd name="connsiteX4" fmla="*/ 71037 w 109885"/>
                  <a:gd name="connsiteY4" fmla="*/ 85466 h 182586"/>
                  <a:gd name="connsiteX5" fmla="*/ 41623 w 109885"/>
                  <a:gd name="connsiteY5" fmla="*/ 106555 h 182586"/>
                  <a:gd name="connsiteX6" fmla="*/ 18314 w 109885"/>
                  <a:gd name="connsiteY6" fmla="*/ 127089 h 182586"/>
                  <a:gd name="connsiteX7" fmla="*/ 18314 w 109885"/>
                  <a:gd name="connsiteY7" fmla="*/ 131529 h 182586"/>
                  <a:gd name="connsiteX8" fmla="*/ 59382 w 109885"/>
                  <a:gd name="connsiteY8" fmla="*/ 149843 h 182586"/>
                  <a:gd name="connsiteX9" fmla="*/ 91016 w 109885"/>
                  <a:gd name="connsiteY9" fmla="*/ 161498 h 182586"/>
                  <a:gd name="connsiteX10" fmla="*/ 97676 w 109885"/>
                  <a:gd name="connsiteY10" fmla="*/ 162053 h 182586"/>
                  <a:gd name="connsiteX11" fmla="*/ 102670 w 109885"/>
                  <a:gd name="connsiteY11" fmla="*/ 162053 h 182586"/>
                  <a:gd name="connsiteX12" fmla="*/ 106555 w 109885"/>
                  <a:gd name="connsiteY12" fmla="*/ 162053 h 182586"/>
                  <a:gd name="connsiteX13" fmla="*/ 108220 w 109885"/>
                  <a:gd name="connsiteY13" fmla="*/ 163163 h 182586"/>
                  <a:gd name="connsiteX14" fmla="*/ 103780 w 109885"/>
                  <a:gd name="connsiteY14" fmla="*/ 169268 h 182586"/>
                  <a:gd name="connsiteX15" fmla="*/ 90461 w 109885"/>
                  <a:gd name="connsiteY15" fmla="*/ 172042 h 182586"/>
                  <a:gd name="connsiteX16" fmla="*/ 68817 w 109885"/>
                  <a:gd name="connsiteY16" fmla="*/ 165938 h 182586"/>
                  <a:gd name="connsiteX17" fmla="*/ 36073 w 109885"/>
                  <a:gd name="connsiteY17" fmla="*/ 150398 h 182586"/>
                  <a:gd name="connsiteX18" fmla="*/ 20534 w 109885"/>
                  <a:gd name="connsiteY18" fmla="*/ 142629 h 182586"/>
                  <a:gd name="connsiteX19" fmla="*/ 23864 w 109885"/>
                  <a:gd name="connsiteY19" fmla="*/ 176482 h 182586"/>
                  <a:gd name="connsiteX20" fmla="*/ 21089 w 109885"/>
                  <a:gd name="connsiteY20" fmla="*/ 180922 h 182586"/>
                  <a:gd name="connsiteX21" fmla="*/ 14984 w 109885"/>
                  <a:gd name="connsiteY21" fmla="*/ 182587 h 182586"/>
                  <a:gd name="connsiteX22" fmla="*/ 11654 w 109885"/>
                  <a:gd name="connsiteY22" fmla="*/ 176482 h 182586"/>
                  <a:gd name="connsiteX23" fmla="*/ 8879 w 109885"/>
                  <a:gd name="connsiteY23" fmla="*/ 153173 h 182586"/>
                  <a:gd name="connsiteX24" fmla="*/ 7215 w 109885"/>
                  <a:gd name="connsiteY24" fmla="*/ 138189 h 182586"/>
                  <a:gd name="connsiteX25" fmla="*/ 2220 w 109885"/>
                  <a:gd name="connsiteY25" fmla="*/ 134859 h 182586"/>
                  <a:gd name="connsiteX26" fmla="*/ 0 w 109885"/>
                  <a:gd name="connsiteY26" fmla="*/ 130419 h 182586"/>
                  <a:gd name="connsiteX27" fmla="*/ 4995 w 109885"/>
                  <a:gd name="connsiteY27" fmla="*/ 123759 h 182586"/>
                  <a:gd name="connsiteX28" fmla="*/ 3885 w 109885"/>
                  <a:gd name="connsiteY28" fmla="*/ 86021 h 182586"/>
                  <a:gd name="connsiteX29" fmla="*/ 2220 w 109885"/>
                  <a:gd name="connsiteY29" fmla="*/ 50503 h 182586"/>
                  <a:gd name="connsiteX30" fmla="*/ 1110 w 109885"/>
                  <a:gd name="connsiteY30" fmla="*/ 16649 h 182586"/>
                  <a:gd name="connsiteX31" fmla="*/ 2775 w 109885"/>
                  <a:gd name="connsiteY31" fmla="*/ 4995 h 182586"/>
                  <a:gd name="connsiteX32" fmla="*/ 10545 w 109885"/>
                  <a:gd name="connsiteY32" fmla="*/ 0 h 182586"/>
                  <a:gd name="connsiteX33" fmla="*/ 13320 w 109885"/>
                  <a:gd name="connsiteY33" fmla="*/ 1110 h 182586"/>
                  <a:gd name="connsiteX34" fmla="*/ 13874 w 109885"/>
                  <a:gd name="connsiteY34" fmla="*/ 4440 h 182586"/>
                  <a:gd name="connsiteX35" fmla="*/ 15539 w 109885"/>
                  <a:gd name="connsiteY35" fmla="*/ 56607 h 182586"/>
                  <a:gd name="connsiteX36" fmla="*/ 18314 w 109885"/>
                  <a:gd name="connsiteY36" fmla="*/ 114880 h 182586"/>
                  <a:gd name="connsiteX37" fmla="*/ 97676 w 109885"/>
                  <a:gd name="connsiteY37" fmla="*/ 63267 h 182586"/>
                  <a:gd name="connsiteX38" fmla="*/ 106555 w 109885"/>
                  <a:gd name="connsiteY38" fmla="*/ 64932 h 182586"/>
                  <a:gd name="connsiteX39" fmla="*/ 109885 w 109885"/>
                  <a:gd name="connsiteY39" fmla="*/ 68817 h 182586"/>
                  <a:gd name="connsiteX40" fmla="*/ 106000 w 109885"/>
                  <a:gd name="connsiteY40" fmla="*/ 77142 h 18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09885" h="182586">
                    <a:moveTo>
                      <a:pt x="106000" y="77142"/>
                    </a:moveTo>
                    <a:cubicBezTo>
                      <a:pt x="103780" y="79916"/>
                      <a:pt x="101560" y="81026"/>
                      <a:pt x="99896" y="81026"/>
                    </a:cubicBezTo>
                    <a:cubicBezTo>
                      <a:pt x="98786" y="81026"/>
                      <a:pt x="97121" y="80471"/>
                      <a:pt x="95456" y="78807"/>
                    </a:cubicBezTo>
                    <a:cubicBezTo>
                      <a:pt x="93791" y="77697"/>
                      <a:pt x="92681" y="76587"/>
                      <a:pt x="92126" y="76587"/>
                    </a:cubicBezTo>
                    <a:cubicBezTo>
                      <a:pt x="87686" y="76587"/>
                      <a:pt x="81026" y="79361"/>
                      <a:pt x="71037" y="85466"/>
                    </a:cubicBezTo>
                    <a:cubicBezTo>
                      <a:pt x="61602" y="91571"/>
                      <a:pt x="51613" y="98786"/>
                      <a:pt x="41623" y="106555"/>
                    </a:cubicBezTo>
                    <a:cubicBezTo>
                      <a:pt x="31634" y="114880"/>
                      <a:pt x="23864" y="121540"/>
                      <a:pt x="18314" y="127089"/>
                    </a:cubicBezTo>
                    <a:lnTo>
                      <a:pt x="18314" y="131529"/>
                    </a:lnTo>
                    <a:cubicBezTo>
                      <a:pt x="30524" y="137079"/>
                      <a:pt x="44398" y="143184"/>
                      <a:pt x="59382" y="149843"/>
                    </a:cubicBezTo>
                    <a:cubicBezTo>
                      <a:pt x="74367" y="156503"/>
                      <a:pt x="84911" y="160388"/>
                      <a:pt x="91016" y="161498"/>
                    </a:cubicBezTo>
                    <a:cubicBezTo>
                      <a:pt x="93236" y="162053"/>
                      <a:pt x="95456" y="162053"/>
                      <a:pt x="97676" y="162053"/>
                    </a:cubicBezTo>
                    <a:cubicBezTo>
                      <a:pt x="99896" y="162053"/>
                      <a:pt x="101560" y="162053"/>
                      <a:pt x="102670" y="162053"/>
                    </a:cubicBezTo>
                    <a:cubicBezTo>
                      <a:pt x="104335" y="162053"/>
                      <a:pt x="105445" y="162053"/>
                      <a:pt x="106555" y="162053"/>
                    </a:cubicBezTo>
                    <a:cubicBezTo>
                      <a:pt x="107665" y="162053"/>
                      <a:pt x="108220" y="162608"/>
                      <a:pt x="108220" y="163163"/>
                    </a:cubicBezTo>
                    <a:cubicBezTo>
                      <a:pt x="108220" y="165383"/>
                      <a:pt x="106555" y="167048"/>
                      <a:pt x="103780" y="169268"/>
                    </a:cubicBezTo>
                    <a:cubicBezTo>
                      <a:pt x="101006" y="171487"/>
                      <a:pt x="96011" y="172042"/>
                      <a:pt x="90461" y="172042"/>
                    </a:cubicBezTo>
                    <a:cubicBezTo>
                      <a:pt x="84911" y="172042"/>
                      <a:pt x="77697" y="169822"/>
                      <a:pt x="68817" y="165938"/>
                    </a:cubicBezTo>
                    <a:cubicBezTo>
                      <a:pt x="59937" y="162053"/>
                      <a:pt x="48838" y="156503"/>
                      <a:pt x="36073" y="150398"/>
                    </a:cubicBezTo>
                    <a:lnTo>
                      <a:pt x="20534" y="142629"/>
                    </a:lnTo>
                    <a:cubicBezTo>
                      <a:pt x="22754" y="163163"/>
                      <a:pt x="23864" y="174817"/>
                      <a:pt x="23864" y="176482"/>
                    </a:cubicBezTo>
                    <a:cubicBezTo>
                      <a:pt x="23864" y="178147"/>
                      <a:pt x="22754" y="179812"/>
                      <a:pt x="21089" y="180922"/>
                    </a:cubicBezTo>
                    <a:cubicBezTo>
                      <a:pt x="19424" y="182032"/>
                      <a:pt x="17204" y="182587"/>
                      <a:pt x="14984" y="182587"/>
                    </a:cubicBezTo>
                    <a:cubicBezTo>
                      <a:pt x="13874" y="182587"/>
                      <a:pt x="12764" y="180367"/>
                      <a:pt x="11654" y="176482"/>
                    </a:cubicBezTo>
                    <a:cubicBezTo>
                      <a:pt x="11100" y="172597"/>
                      <a:pt x="9989" y="164828"/>
                      <a:pt x="8879" y="153173"/>
                    </a:cubicBezTo>
                    <a:lnTo>
                      <a:pt x="7215" y="138189"/>
                    </a:lnTo>
                    <a:cubicBezTo>
                      <a:pt x="4995" y="137634"/>
                      <a:pt x="3330" y="135969"/>
                      <a:pt x="2220" y="134859"/>
                    </a:cubicBezTo>
                    <a:cubicBezTo>
                      <a:pt x="555" y="133194"/>
                      <a:pt x="0" y="132084"/>
                      <a:pt x="0" y="130419"/>
                    </a:cubicBezTo>
                    <a:cubicBezTo>
                      <a:pt x="0" y="128199"/>
                      <a:pt x="1665" y="125979"/>
                      <a:pt x="4995" y="123759"/>
                    </a:cubicBezTo>
                    <a:cubicBezTo>
                      <a:pt x="4995" y="114880"/>
                      <a:pt x="4440" y="102670"/>
                      <a:pt x="3885" y="86021"/>
                    </a:cubicBezTo>
                    <a:cubicBezTo>
                      <a:pt x="3330" y="69927"/>
                      <a:pt x="2775" y="57717"/>
                      <a:pt x="2220" y="50503"/>
                    </a:cubicBezTo>
                    <a:lnTo>
                      <a:pt x="1110" y="16649"/>
                    </a:lnTo>
                    <a:cubicBezTo>
                      <a:pt x="1110" y="12209"/>
                      <a:pt x="1665" y="8325"/>
                      <a:pt x="2775" y="4995"/>
                    </a:cubicBezTo>
                    <a:cubicBezTo>
                      <a:pt x="3885" y="1665"/>
                      <a:pt x="6660" y="0"/>
                      <a:pt x="10545" y="0"/>
                    </a:cubicBezTo>
                    <a:cubicBezTo>
                      <a:pt x="12210" y="0"/>
                      <a:pt x="12764" y="555"/>
                      <a:pt x="13320" y="1110"/>
                    </a:cubicBezTo>
                    <a:cubicBezTo>
                      <a:pt x="13874" y="1665"/>
                      <a:pt x="13874" y="2775"/>
                      <a:pt x="13874" y="4440"/>
                    </a:cubicBezTo>
                    <a:cubicBezTo>
                      <a:pt x="13874" y="11654"/>
                      <a:pt x="14429" y="29414"/>
                      <a:pt x="15539" y="56607"/>
                    </a:cubicBezTo>
                    <a:cubicBezTo>
                      <a:pt x="16649" y="83801"/>
                      <a:pt x="17204" y="103225"/>
                      <a:pt x="18314" y="114880"/>
                    </a:cubicBezTo>
                    <a:cubicBezTo>
                      <a:pt x="54388" y="80471"/>
                      <a:pt x="81026" y="63267"/>
                      <a:pt x="97676" y="63267"/>
                    </a:cubicBezTo>
                    <a:cubicBezTo>
                      <a:pt x="101006" y="63267"/>
                      <a:pt x="103780" y="63822"/>
                      <a:pt x="106555" y="64932"/>
                    </a:cubicBezTo>
                    <a:cubicBezTo>
                      <a:pt x="108775" y="66042"/>
                      <a:pt x="109885" y="67152"/>
                      <a:pt x="109885" y="68817"/>
                    </a:cubicBezTo>
                    <a:cubicBezTo>
                      <a:pt x="109330" y="72147"/>
                      <a:pt x="108220" y="74367"/>
                      <a:pt x="106000" y="7714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40121200-3C7A-4333-8690-8C4EF7B79B6F}"/>
                </a:ext>
              </a:extLst>
            </p:cNvPr>
            <p:cNvSpPr/>
            <p:nvPr/>
          </p:nvSpPr>
          <p:spPr>
            <a:xfrm>
              <a:off x="7235918" y="2953385"/>
              <a:ext cx="198126" cy="198681"/>
            </a:xfrm>
            <a:custGeom>
              <a:avLst/>
              <a:gdLst>
                <a:gd name="connsiteX0" fmla="*/ 187582 w 198126"/>
                <a:gd name="connsiteY0" fmla="*/ 198681 h 198681"/>
                <a:gd name="connsiteX1" fmla="*/ 10544 w 198126"/>
                <a:gd name="connsiteY1" fmla="*/ 198681 h 198681"/>
                <a:gd name="connsiteX2" fmla="*/ 0 w 198126"/>
                <a:gd name="connsiteY2" fmla="*/ 188137 h 198681"/>
                <a:gd name="connsiteX3" fmla="*/ 0 w 198126"/>
                <a:gd name="connsiteY3" fmla="*/ 10545 h 198681"/>
                <a:gd name="connsiteX4" fmla="*/ 10544 w 198126"/>
                <a:gd name="connsiteY4" fmla="*/ 0 h 198681"/>
                <a:gd name="connsiteX5" fmla="*/ 187582 w 198126"/>
                <a:gd name="connsiteY5" fmla="*/ 0 h 198681"/>
                <a:gd name="connsiteX6" fmla="*/ 198126 w 198126"/>
                <a:gd name="connsiteY6" fmla="*/ 10545 h 198681"/>
                <a:gd name="connsiteX7" fmla="*/ 198126 w 198126"/>
                <a:gd name="connsiteY7" fmla="*/ 188137 h 19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126" h="198681">
                  <a:moveTo>
                    <a:pt x="187582" y="198681"/>
                  </a:moveTo>
                  <a:lnTo>
                    <a:pt x="10544" y="198681"/>
                  </a:lnTo>
                  <a:lnTo>
                    <a:pt x="0" y="188137"/>
                  </a:lnTo>
                  <a:lnTo>
                    <a:pt x="0" y="10545"/>
                  </a:lnTo>
                  <a:lnTo>
                    <a:pt x="10544" y="0"/>
                  </a:lnTo>
                  <a:lnTo>
                    <a:pt x="187582" y="0"/>
                  </a:lnTo>
                  <a:lnTo>
                    <a:pt x="198126" y="10545"/>
                  </a:lnTo>
                  <a:lnTo>
                    <a:pt x="198126" y="188137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0048A05D-4693-40D7-92A6-81C9D4DE26D7}"/>
                </a:ext>
              </a:extLst>
            </p:cNvPr>
            <p:cNvSpPr/>
            <p:nvPr/>
          </p:nvSpPr>
          <p:spPr>
            <a:xfrm>
              <a:off x="7475668" y="3193689"/>
              <a:ext cx="198681" cy="198681"/>
            </a:xfrm>
            <a:custGeom>
              <a:avLst/>
              <a:gdLst>
                <a:gd name="connsiteX0" fmla="*/ 188137 w 198681"/>
                <a:gd name="connsiteY0" fmla="*/ 198681 h 198681"/>
                <a:gd name="connsiteX1" fmla="*/ 10545 w 198681"/>
                <a:gd name="connsiteY1" fmla="*/ 198681 h 198681"/>
                <a:gd name="connsiteX2" fmla="*/ 0 w 198681"/>
                <a:gd name="connsiteY2" fmla="*/ 187582 h 198681"/>
                <a:gd name="connsiteX3" fmla="*/ 0 w 198681"/>
                <a:gd name="connsiteY3" fmla="*/ 10545 h 198681"/>
                <a:gd name="connsiteX4" fmla="*/ 10545 w 198681"/>
                <a:gd name="connsiteY4" fmla="*/ 0 h 198681"/>
                <a:gd name="connsiteX5" fmla="*/ 188137 w 198681"/>
                <a:gd name="connsiteY5" fmla="*/ 0 h 198681"/>
                <a:gd name="connsiteX6" fmla="*/ 198681 w 198681"/>
                <a:gd name="connsiteY6" fmla="*/ 10545 h 198681"/>
                <a:gd name="connsiteX7" fmla="*/ 198681 w 198681"/>
                <a:gd name="connsiteY7" fmla="*/ 187582 h 19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681" h="198681">
                  <a:moveTo>
                    <a:pt x="188137" y="198681"/>
                  </a:moveTo>
                  <a:lnTo>
                    <a:pt x="10545" y="198681"/>
                  </a:lnTo>
                  <a:lnTo>
                    <a:pt x="0" y="187582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188137" y="0"/>
                  </a:lnTo>
                  <a:lnTo>
                    <a:pt x="198681" y="10545"/>
                  </a:lnTo>
                  <a:lnTo>
                    <a:pt x="198681" y="187582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91AA81A3-262D-47E1-8918-AE460CAF84D6}"/>
                </a:ext>
              </a:extLst>
            </p:cNvPr>
            <p:cNvSpPr/>
            <p:nvPr/>
          </p:nvSpPr>
          <p:spPr>
            <a:xfrm>
              <a:off x="7475668" y="2829626"/>
              <a:ext cx="322440" cy="322440"/>
            </a:xfrm>
            <a:custGeom>
              <a:avLst/>
              <a:gdLst>
                <a:gd name="connsiteX0" fmla="*/ 311896 w 322440"/>
                <a:gd name="connsiteY0" fmla="*/ 322441 h 322440"/>
                <a:gd name="connsiteX1" fmla="*/ 10545 w 322440"/>
                <a:gd name="connsiteY1" fmla="*/ 322441 h 322440"/>
                <a:gd name="connsiteX2" fmla="*/ 0 w 322440"/>
                <a:gd name="connsiteY2" fmla="*/ 311896 h 322440"/>
                <a:gd name="connsiteX3" fmla="*/ 0 w 322440"/>
                <a:gd name="connsiteY3" fmla="*/ 10545 h 322440"/>
                <a:gd name="connsiteX4" fmla="*/ 10545 w 322440"/>
                <a:gd name="connsiteY4" fmla="*/ 0 h 322440"/>
                <a:gd name="connsiteX5" fmla="*/ 161498 w 322440"/>
                <a:gd name="connsiteY5" fmla="*/ 0 h 322440"/>
                <a:gd name="connsiteX6" fmla="*/ 322441 w 322440"/>
                <a:gd name="connsiteY6" fmla="*/ 160943 h 322440"/>
                <a:gd name="connsiteX7" fmla="*/ 322441 w 322440"/>
                <a:gd name="connsiteY7" fmla="*/ 311896 h 32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2440" h="322440">
                  <a:moveTo>
                    <a:pt x="311896" y="322441"/>
                  </a:moveTo>
                  <a:lnTo>
                    <a:pt x="10545" y="322441"/>
                  </a:lnTo>
                  <a:lnTo>
                    <a:pt x="0" y="311896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161498" y="0"/>
                  </a:lnTo>
                  <a:lnTo>
                    <a:pt x="322441" y="160943"/>
                  </a:lnTo>
                  <a:lnTo>
                    <a:pt x="322441" y="311896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D8CFD276-1544-4C99-BDD7-ABE7001657D3}"/>
                </a:ext>
              </a:extLst>
            </p:cNvPr>
            <p:cNvSpPr/>
            <p:nvPr/>
          </p:nvSpPr>
          <p:spPr>
            <a:xfrm>
              <a:off x="7335259" y="3193689"/>
              <a:ext cx="98785" cy="99340"/>
            </a:xfrm>
            <a:custGeom>
              <a:avLst/>
              <a:gdLst>
                <a:gd name="connsiteX0" fmla="*/ 88241 w 98785"/>
                <a:gd name="connsiteY0" fmla="*/ 99341 h 99340"/>
                <a:gd name="connsiteX1" fmla="*/ 10545 w 98785"/>
                <a:gd name="connsiteY1" fmla="*/ 99341 h 99340"/>
                <a:gd name="connsiteX2" fmla="*/ 0 w 98785"/>
                <a:gd name="connsiteY2" fmla="*/ 88796 h 99340"/>
                <a:gd name="connsiteX3" fmla="*/ 0 w 98785"/>
                <a:gd name="connsiteY3" fmla="*/ 10545 h 99340"/>
                <a:gd name="connsiteX4" fmla="*/ 10545 w 98785"/>
                <a:gd name="connsiteY4" fmla="*/ 0 h 99340"/>
                <a:gd name="connsiteX5" fmla="*/ 88241 w 98785"/>
                <a:gd name="connsiteY5" fmla="*/ 0 h 99340"/>
                <a:gd name="connsiteX6" fmla="*/ 98786 w 98785"/>
                <a:gd name="connsiteY6" fmla="*/ 10545 h 99340"/>
                <a:gd name="connsiteX7" fmla="*/ 98786 w 98785"/>
                <a:gd name="connsiteY7" fmla="*/ 88796 h 9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785" h="99340">
                  <a:moveTo>
                    <a:pt x="88241" y="99341"/>
                  </a:moveTo>
                  <a:lnTo>
                    <a:pt x="10545" y="99341"/>
                  </a:lnTo>
                  <a:lnTo>
                    <a:pt x="0" y="88796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88241" y="0"/>
                  </a:lnTo>
                  <a:lnTo>
                    <a:pt x="98786" y="10545"/>
                  </a:lnTo>
                  <a:lnTo>
                    <a:pt x="98786" y="88796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5ECB2BD9-46D5-42C7-B351-7D348B238FC9}"/>
                </a:ext>
              </a:extLst>
            </p:cNvPr>
            <p:cNvSpPr/>
            <p:nvPr/>
          </p:nvSpPr>
          <p:spPr>
            <a:xfrm>
              <a:off x="4784592" y="3299690"/>
              <a:ext cx="539991" cy="325215"/>
            </a:xfrm>
            <a:custGeom>
              <a:avLst/>
              <a:gdLst>
                <a:gd name="connsiteX0" fmla="*/ 0 w 539991"/>
                <a:gd name="connsiteY0" fmla="*/ 324106 h 325215"/>
                <a:gd name="connsiteX1" fmla="*/ 0 w 539991"/>
                <a:gd name="connsiteY1" fmla="*/ 8325 h 325215"/>
                <a:gd name="connsiteX2" fmla="*/ 113215 w 539991"/>
                <a:gd name="connsiteY2" fmla="*/ 8325 h 325215"/>
                <a:gd name="connsiteX3" fmla="*/ 113215 w 539991"/>
                <a:gd name="connsiteY3" fmla="*/ 54388 h 325215"/>
                <a:gd name="connsiteX4" fmla="*/ 159833 w 539991"/>
                <a:gd name="connsiteY4" fmla="*/ 13319 h 325215"/>
                <a:gd name="connsiteX5" fmla="*/ 219215 w 539991"/>
                <a:gd name="connsiteY5" fmla="*/ 0 h 325215"/>
                <a:gd name="connsiteX6" fmla="*/ 272493 w 539991"/>
                <a:gd name="connsiteY6" fmla="*/ 13319 h 325215"/>
                <a:gd name="connsiteX7" fmla="*/ 312451 w 539991"/>
                <a:gd name="connsiteY7" fmla="*/ 54943 h 325215"/>
                <a:gd name="connsiteX8" fmla="*/ 362399 w 539991"/>
                <a:gd name="connsiteY8" fmla="*/ 13319 h 325215"/>
                <a:gd name="connsiteX9" fmla="*/ 423446 w 539991"/>
                <a:gd name="connsiteY9" fmla="*/ 0 h 325215"/>
                <a:gd name="connsiteX10" fmla="*/ 509467 w 539991"/>
                <a:gd name="connsiteY10" fmla="*/ 28859 h 325215"/>
                <a:gd name="connsiteX11" fmla="*/ 539991 w 539991"/>
                <a:gd name="connsiteY11" fmla="*/ 109330 h 325215"/>
                <a:gd name="connsiteX12" fmla="*/ 539991 w 539991"/>
                <a:gd name="connsiteY12" fmla="*/ 324661 h 325215"/>
                <a:gd name="connsiteX13" fmla="*/ 417341 w 539991"/>
                <a:gd name="connsiteY13" fmla="*/ 324661 h 325215"/>
                <a:gd name="connsiteX14" fmla="*/ 417341 w 539991"/>
                <a:gd name="connsiteY14" fmla="*/ 155948 h 325215"/>
                <a:gd name="connsiteX15" fmla="*/ 407352 w 539991"/>
                <a:gd name="connsiteY15" fmla="*/ 113215 h 325215"/>
                <a:gd name="connsiteX16" fmla="*/ 375163 w 539991"/>
                <a:gd name="connsiteY16" fmla="*/ 99896 h 325215"/>
                <a:gd name="connsiteX17" fmla="*/ 341865 w 539991"/>
                <a:gd name="connsiteY17" fmla="*/ 113770 h 325215"/>
                <a:gd name="connsiteX18" fmla="*/ 331320 w 539991"/>
                <a:gd name="connsiteY18" fmla="*/ 157058 h 325215"/>
                <a:gd name="connsiteX19" fmla="*/ 331320 w 539991"/>
                <a:gd name="connsiteY19" fmla="*/ 324661 h 325215"/>
                <a:gd name="connsiteX20" fmla="*/ 209226 w 539991"/>
                <a:gd name="connsiteY20" fmla="*/ 324661 h 325215"/>
                <a:gd name="connsiteX21" fmla="*/ 209226 w 539991"/>
                <a:gd name="connsiteY21" fmla="*/ 159833 h 325215"/>
                <a:gd name="connsiteX22" fmla="*/ 199236 w 539991"/>
                <a:gd name="connsiteY22" fmla="*/ 113215 h 325215"/>
                <a:gd name="connsiteX23" fmla="*/ 165938 w 539991"/>
                <a:gd name="connsiteY23" fmla="*/ 99341 h 325215"/>
                <a:gd name="connsiteX24" fmla="*/ 134304 w 539991"/>
                <a:gd name="connsiteY24" fmla="*/ 113770 h 325215"/>
                <a:gd name="connsiteX25" fmla="*/ 123760 w 539991"/>
                <a:gd name="connsiteY25" fmla="*/ 155393 h 325215"/>
                <a:gd name="connsiteX26" fmla="*/ 123760 w 539991"/>
                <a:gd name="connsiteY26" fmla="*/ 325216 h 325215"/>
                <a:gd name="connsiteX27" fmla="*/ 0 w 539991"/>
                <a:gd name="connsiteY27" fmla="*/ 325216 h 32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39991" h="325215">
                  <a:moveTo>
                    <a:pt x="0" y="324106"/>
                  </a:moveTo>
                  <a:lnTo>
                    <a:pt x="0" y="8325"/>
                  </a:lnTo>
                  <a:lnTo>
                    <a:pt x="113215" y="8325"/>
                  </a:lnTo>
                  <a:lnTo>
                    <a:pt x="113215" y="54388"/>
                  </a:lnTo>
                  <a:cubicBezTo>
                    <a:pt x="127089" y="36073"/>
                    <a:pt x="142629" y="22199"/>
                    <a:pt x="159833" y="13319"/>
                  </a:cubicBezTo>
                  <a:cubicBezTo>
                    <a:pt x="177037" y="4440"/>
                    <a:pt x="197016" y="0"/>
                    <a:pt x="219215" y="0"/>
                  </a:cubicBezTo>
                  <a:cubicBezTo>
                    <a:pt x="239749" y="0"/>
                    <a:pt x="257509" y="4440"/>
                    <a:pt x="272493" y="13319"/>
                  </a:cubicBezTo>
                  <a:cubicBezTo>
                    <a:pt x="287477" y="22199"/>
                    <a:pt x="300797" y="36073"/>
                    <a:pt x="312451" y="54943"/>
                  </a:cubicBezTo>
                  <a:cubicBezTo>
                    <a:pt x="327435" y="36073"/>
                    <a:pt x="344085" y="22199"/>
                    <a:pt x="362399" y="13319"/>
                  </a:cubicBezTo>
                  <a:cubicBezTo>
                    <a:pt x="380713" y="4440"/>
                    <a:pt x="400692" y="0"/>
                    <a:pt x="423446" y="0"/>
                  </a:cubicBezTo>
                  <a:cubicBezTo>
                    <a:pt x="460075" y="0"/>
                    <a:pt x="488933" y="9435"/>
                    <a:pt x="509467" y="28859"/>
                  </a:cubicBezTo>
                  <a:cubicBezTo>
                    <a:pt x="530002" y="48283"/>
                    <a:pt x="539991" y="74922"/>
                    <a:pt x="539991" y="109330"/>
                  </a:cubicBezTo>
                  <a:lnTo>
                    <a:pt x="539991" y="324661"/>
                  </a:lnTo>
                  <a:lnTo>
                    <a:pt x="417341" y="324661"/>
                  </a:lnTo>
                  <a:lnTo>
                    <a:pt x="417341" y="155948"/>
                  </a:lnTo>
                  <a:cubicBezTo>
                    <a:pt x="417341" y="135969"/>
                    <a:pt x="414012" y="122095"/>
                    <a:pt x="407352" y="113215"/>
                  </a:cubicBezTo>
                  <a:cubicBezTo>
                    <a:pt x="400692" y="104335"/>
                    <a:pt x="390148" y="99896"/>
                    <a:pt x="375163" y="99896"/>
                  </a:cubicBezTo>
                  <a:cubicBezTo>
                    <a:pt x="360179" y="99896"/>
                    <a:pt x="349080" y="104335"/>
                    <a:pt x="341865" y="113770"/>
                  </a:cubicBezTo>
                  <a:cubicBezTo>
                    <a:pt x="334650" y="123205"/>
                    <a:pt x="331320" y="137634"/>
                    <a:pt x="331320" y="157058"/>
                  </a:cubicBezTo>
                  <a:lnTo>
                    <a:pt x="331320" y="324661"/>
                  </a:lnTo>
                  <a:lnTo>
                    <a:pt x="209226" y="324661"/>
                  </a:lnTo>
                  <a:lnTo>
                    <a:pt x="209226" y="159833"/>
                  </a:lnTo>
                  <a:cubicBezTo>
                    <a:pt x="209226" y="138189"/>
                    <a:pt x="205896" y="122650"/>
                    <a:pt x="199236" y="113215"/>
                  </a:cubicBezTo>
                  <a:cubicBezTo>
                    <a:pt x="192576" y="103780"/>
                    <a:pt x="181477" y="99341"/>
                    <a:pt x="165938" y="99341"/>
                  </a:cubicBezTo>
                  <a:cubicBezTo>
                    <a:pt x="152063" y="99341"/>
                    <a:pt x="141519" y="104335"/>
                    <a:pt x="134304" y="113770"/>
                  </a:cubicBezTo>
                  <a:cubicBezTo>
                    <a:pt x="127089" y="123205"/>
                    <a:pt x="123760" y="137079"/>
                    <a:pt x="123760" y="155393"/>
                  </a:cubicBezTo>
                  <a:lnTo>
                    <a:pt x="123760" y="325216"/>
                  </a:lnTo>
                  <a:lnTo>
                    <a:pt x="0" y="325216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80D33C0B-A98E-4362-8A9B-F27F846CB301}"/>
                </a:ext>
              </a:extLst>
            </p:cNvPr>
            <p:cNvSpPr/>
            <p:nvPr/>
          </p:nvSpPr>
          <p:spPr>
            <a:xfrm>
              <a:off x="4395000" y="3297470"/>
              <a:ext cx="359624" cy="337425"/>
            </a:xfrm>
            <a:custGeom>
              <a:avLst/>
              <a:gdLst>
                <a:gd name="connsiteX0" fmla="*/ 349634 w 359624"/>
                <a:gd name="connsiteY0" fmla="*/ 233090 h 337425"/>
                <a:gd name="connsiteX1" fmla="*/ 175927 w 359624"/>
                <a:gd name="connsiteY1" fmla="*/ 337425 h 337425"/>
                <a:gd name="connsiteX2" fmla="*/ 0 w 359624"/>
                <a:gd name="connsiteY2" fmla="*/ 171487 h 337425"/>
                <a:gd name="connsiteX3" fmla="*/ 180922 w 359624"/>
                <a:gd name="connsiteY3" fmla="*/ 0 h 337425"/>
                <a:gd name="connsiteX4" fmla="*/ 359624 w 359624"/>
                <a:gd name="connsiteY4" fmla="*/ 188692 h 337425"/>
                <a:gd name="connsiteX5" fmla="*/ 359624 w 359624"/>
                <a:gd name="connsiteY5" fmla="*/ 196461 h 337425"/>
                <a:gd name="connsiteX6" fmla="*/ 124869 w 359624"/>
                <a:gd name="connsiteY6" fmla="*/ 196461 h 337425"/>
                <a:gd name="connsiteX7" fmla="*/ 183142 w 359624"/>
                <a:gd name="connsiteY7" fmla="*/ 259174 h 337425"/>
                <a:gd name="connsiteX8" fmla="*/ 229760 w 359624"/>
                <a:gd name="connsiteY8" fmla="*/ 233090 h 337425"/>
                <a:gd name="connsiteX9" fmla="*/ 349634 w 359624"/>
                <a:gd name="connsiteY9" fmla="*/ 233090 h 337425"/>
                <a:gd name="connsiteX10" fmla="*/ 236420 w 359624"/>
                <a:gd name="connsiteY10" fmla="*/ 133749 h 337425"/>
                <a:gd name="connsiteX11" fmla="*/ 179812 w 359624"/>
                <a:gd name="connsiteY11" fmla="*/ 74922 h 337425"/>
                <a:gd name="connsiteX12" fmla="*/ 125424 w 359624"/>
                <a:gd name="connsiteY12" fmla="*/ 133749 h 337425"/>
                <a:gd name="connsiteX13" fmla="*/ 236420 w 359624"/>
                <a:gd name="connsiteY13" fmla="*/ 133749 h 33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624" h="337425">
                  <a:moveTo>
                    <a:pt x="349634" y="233090"/>
                  </a:moveTo>
                  <a:cubicBezTo>
                    <a:pt x="332430" y="301352"/>
                    <a:pt x="273048" y="337425"/>
                    <a:pt x="175927" y="337425"/>
                  </a:cubicBezTo>
                  <a:cubicBezTo>
                    <a:pt x="67152" y="337425"/>
                    <a:pt x="0" y="271938"/>
                    <a:pt x="0" y="171487"/>
                  </a:cubicBezTo>
                  <a:cubicBezTo>
                    <a:pt x="0" y="66042"/>
                    <a:pt x="68817" y="0"/>
                    <a:pt x="180922" y="0"/>
                  </a:cubicBezTo>
                  <a:cubicBezTo>
                    <a:pt x="292472" y="0"/>
                    <a:pt x="359624" y="69927"/>
                    <a:pt x="359624" y="188692"/>
                  </a:cubicBezTo>
                  <a:cubicBezTo>
                    <a:pt x="359624" y="190912"/>
                    <a:pt x="359624" y="194241"/>
                    <a:pt x="359624" y="196461"/>
                  </a:cubicBezTo>
                  <a:lnTo>
                    <a:pt x="124869" y="196461"/>
                  </a:lnTo>
                  <a:cubicBezTo>
                    <a:pt x="125979" y="236975"/>
                    <a:pt x="147068" y="259174"/>
                    <a:pt x="183142" y="259174"/>
                  </a:cubicBezTo>
                  <a:cubicBezTo>
                    <a:pt x="207561" y="259174"/>
                    <a:pt x="224210" y="249739"/>
                    <a:pt x="229760" y="233090"/>
                  </a:cubicBezTo>
                  <a:lnTo>
                    <a:pt x="349634" y="233090"/>
                  </a:lnTo>
                  <a:close/>
                  <a:moveTo>
                    <a:pt x="236420" y="133749"/>
                  </a:moveTo>
                  <a:cubicBezTo>
                    <a:pt x="234200" y="94901"/>
                    <a:pt x="215330" y="74922"/>
                    <a:pt x="179812" y="74922"/>
                  </a:cubicBezTo>
                  <a:cubicBezTo>
                    <a:pt x="147068" y="74922"/>
                    <a:pt x="127089" y="96011"/>
                    <a:pt x="125424" y="133749"/>
                  </a:cubicBezTo>
                  <a:lnTo>
                    <a:pt x="236420" y="133749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9A37EBA1-AA84-4B2F-8AD1-4741F9164122}"/>
                </a:ext>
              </a:extLst>
            </p:cNvPr>
            <p:cNvSpPr/>
            <p:nvPr/>
          </p:nvSpPr>
          <p:spPr>
            <a:xfrm>
              <a:off x="5368981" y="3300800"/>
              <a:ext cx="350189" cy="448975"/>
            </a:xfrm>
            <a:custGeom>
              <a:avLst/>
              <a:gdLst>
                <a:gd name="connsiteX0" fmla="*/ 0 w 350189"/>
                <a:gd name="connsiteY0" fmla="*/ 8325 h 448975"/>
                <a:gd name="connsiteX1" fmla="*/ 110995 w 350189"/>
                <a:gd name="connsiteY1" fmla="*/ 8325 h 448975"/>
                <a:gd name="connsiteX2" fmla="*/ 110995 w 350189"/>
                <a:gd name="connsiteY2" fmla="*/ 48838 h 448975"/>
                <a:gd name="connsiteX3" fmla="*/ 213111 w 350189"/>
                <a:gd name="connsiteY3" fmla="*/ 0 h 448975"/>
                <a:gd name="connsiteX4" fmla="*/ 350190 w 350189"/>
                <a:gd name="connsiteY4" fmla="*/ 166493 h 448975"/>
                <a:gd name="connsiteX5" fmla="*/ 210891 w 350189"/>
                <a:gd name="connsiteY5" fmla="*/ 333540 h 448975"/>
                <a:gd name="connsiteX6" fmla="*/ 122095 w 350189"/>
                <a:gd name="connsiteY6" fmla="*/ 293027 h 448975"/>
                <a:gd name="connsiteX7" fmla="*/ 122095 w 350189"/>
                <a:gd name="connsiteY7" fmla="*/ 448975 h 448975"/>
                <a:gd name="connsiteX8" fmla="*/ 555 w 350189"/>
                <a:gd name="connsiteY8" fmla="*/ 448975 h 448975"/>
                <a:gd name="connsiteX9" fmla="*/ 555 w 350189"/>
                <a:gd name="connsiteY9" fmla="*/ 8325 h 448975"/>
                <a:gd name="connsiteX10" fmla="*/ 174262 w 350189"/>
                <a:gd name="connsiteY10" fmla="*/ 93791 h 448975"/>
                <a:gd name="connsiteX11" fmla="*/ 121540 w 350189"/>
                <a:gd name="connsiteY11" fmla="*/ 166493 h 448975"/>
                <a:gd name="connsiteX12" fmla="*/ 173152 w 350189"/>
                <a:gd name="connsiteY12" fmla="*/ 237529 h 448975"/>
                <a:gd name="connsiteX13" fmla="*/ 224765 w 350189"/>
                <a:gd name="connsiteY13" fmla="*/ 166493 h 448975"/>
                <a:gd name="connsiteX14" fmla="*/ 174262 w 350189"/>
                <a:gd name="connsiteY14" fmla="*/ 93791 h 44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0189" h="448975">
                  <a:moveTo>
                    <a:pt x="0" y="8325"/>
                  </a:moveTo>
                  <a:lnTo>
                    <a:pt x="110995" y="8325"/>
                  </a:lnTo>
                  <a:lnTo>
                    <a:pt x="110995" y="48838"/>
                  </a:lnTo>
                  <a:cubicBezTo>
                    <a:pt x="135969" y="14984"/>
                    <a:pt x="167603" y="0"/>
                    <a:pt x="213111" y="0"/>
                  </a:cubicBezTo>
                  <a:cubicBezTo>
                    <a:pt x="293027" y="0"/>
                    <a:pt x="350190" y="64932"/>
                    <a:pt x="350190" y="166493"/>
                  </a:cubicBezTo>
                  <a:cubicBezTo>
                    <a:pt x="350190" y="269163"/>
                    <a:pt x="295247" y="333540"/>
                    <a:pt x="210891" y="333540"/>
                  </a:cubicBezTo>
                  <a:cubicBezTo>
                    <a:pt x="172597" y="333540"/>
                    <a:pt x="143739" y="321331"/>
                    <a:pt x="122095" y="293027"/>
                  </a:cubicBezTo>
                  <a:lnTo>
                    <a:pt x="122095" y="448975"/>
                  </a:lnTo>
                  <a:lnTo>
                    <a:pt x="555" y="448975"/>
                  </a:lnTo>
                  <a:lnTo>
                    <a:pt x="555" y="8325"/>
                  </a:lnTo>
                  <a:close/>
                  <a:moveTo>
                    <a:pt x="174262" y="93791"/>
                  </a:moveTo>
                  <a:cubicBezTo>
                    <a:pt x="137079" y="93791"/>
                    <a:pt x="121540" y="117100"/>
                    <a:pt x="121540" y="166493"/>
                  </a:cubicBezTo>
                  <a:cubicBezTo>
                    <a:pt x="121540" y="213666"/>
                    <a:pt x="138744" y="237529"/>
                    <a:pt x="173152" y="237529"/>
                  </a:cubicBezTo>
                  <a:cubicBezTo>
                    <a:pt x="207006" y="237529"/>
                    <a:pt x="224765" y="213666"/>
                    <a:pt x="224765" y="166493"/>
                  </a:cubicBezTo>
                  <a:cubicBezTo>
                    <a:pt x="224210" y="117100"/>
                    <a:pt x="208116" y="93791"/>
                    <a:pt x="174262" y="93791"/>
                  </a:cubicBez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02163009-6CDC-4E72-8A0C-B6146F043E4D}"/>
                </a:ext>
              </a:extLst>
            </p:cNvPr>
            <p:cNvSpPr/>
            <p:nvPr/>
          </p:nvSpPr>
          <p:spPr>
            <a:xfrm>
              <a:off x="5735820" y="3298025"/>
              <a:ext cx="355184" cy="336870"/>
            </a:xfrm>
            <a:custGeom>
              <a:avLst/>
              <a:gdLst>
                <a:gd name="connsiteX0" fmla="*/ 177592 w 355184"/>
                <a:gd name="connsiteY0" fmla="*/ 0 h 336870"/>
                <a:gd name="connsiteX1" fmla="*/ 355184 w 355184"/>
                <a:gd name="connsiteY1" fmla="*/ 168158 h 336870"/>
                <a:gd name="connsiteX2" fmla="*/ 177592 w 355184"/>
                <a:gd name="connsiteY2" fmla="*/ 336870 h 336870"/>
                <a:gd name="connsiteX3" fmla="*/ 0 w 355184"/>
                <a:gd name="connsiteY3" fmla="*/ 168158 h 336870"/>
                <a:gd name="connsiteX4" fmla="*/ 177592 w 355184"/>
                <a:gd name="connsiteY4" fmla="*/ 0 h 336870"/>
                <a:gd name="connsiteX5" fmla="*/ 177592 w 355184"/>
                <a:gd name="connsiteY5" fmla="*/ 249739 h 336870"/>
                <a:gd name="connsiteX6" fmla="*/ 229760 w 355184"/>
                <a:gd name="connsiteY6" fmla="*/ 168158 h 336870"/>
                <a:gd name="connsiteX7" fmla="*/ 177592 w 355184"/>
                <a:gd name="connsiteY7" fmla="*/ 87131 h 336870"/>
                <a:gd name="connsiteX8" fmla="*/ 125979 w 355184"/>
                <a:gd name="connsiteY8" fmla="*/ 168158 h 336870"/>
                <a:gd name="connsiteX9" fmla="*/ 177592 w 355184"/>
                <a:gd name="connsiteY9" fmla="*/ 249739 h 33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184" h="336870">
                  <a:moveTo>
                    <a:pt x="177592" y="0"/>
                  </a:moveTo>
                  <a:cubicBezTo>
                    <a:pt x="288587" y="0"/>
                    <a:pt x="355184" y="63822"/>
                    <a:pt x="355184" y="168158"/>
                  </a:cubicBezTo>
                  <a:cubicBezTo>
                    <a:pt x="355184" y="272493"/>
                    <a:pt x="288032" y="336870"/>
                    <a:pt x="177592" y="336870"/>
                  </a:cubicBezTo>
                  <a:cubicBezTo>
                    <a:pt x="66597" y="336870"/>
                    <a:pt x="0" y="272493"/>
                    <a:pt x="0" y="168158"/>
                  </a:cubicBezTo>
                  <a:cubicBezTo>
                    <a:pt x="0" y="63822"/>
                    <a:pt x="67152" y="0"/>
                    <a:pt x="177592" y="0"/>
                  </a:cubicBezTo>
                  <a:close/>
                  <a:moveTo>
                    <a:pt x="177592" y="249739"/>
                  </a:moveTo>
                  <a:cubicBezTo>
                    <a:pt x="215330" y="249739"/>
                    <a:pt x="229760" y="223655"/>
                    <a:pt x="229760" y="168158"/>
                  </a:cubicBezTo>
                  <a:cubicBezTo>
                    <a:pt x="229760" y="112660"/>
                    <a:pt x="215330" y="87131"/>
                    <a:pt x="177592" y="87131"/>
                  </a:cubicBezTo>
                  <a:cubicBezTo>
                    <a:pt x="139854" y="87131"/>
                    <a:pt x="125979" y="112660"/>
                    <a:pt x="125979" y="168158"/>
                  </a:cubicBezTo>
                  <a:cubicBezTo>
                    <a:pt x="126534" y="223655"/>
                    <a:pt x="139854" y="249739"/>
                    <a:pt x="177592" y="249739"/>
                  </a:cubicBez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DD8703C0-45DC-42B6-913F-C43E9E7D8F09}"/>
                </a:ext>
              </a:extLst>
            </p:cNvPr>
            <p:cNvSpPr/>
            <p:nvPr/>
          </p:nvSpPr>
          <p:spPr>
            <a:xfrm>
              <a:off x="6084899" y="3309124"/>
              <a:ext cx="539436" cy="314671"/>
            </a:xfrm>
            <a:custGeom>
              <a:avLst/>
              <a:gdLst>
                <a:gd name="connsiteX0" fmla="*/ 0 w 539436"/>
                <a:gd name="connsiteY0" fmla="*/ 0 h 314671"/>
                <a:gd name="connsiteX1" fmla="*/ 123759 w 539436"/>
                <a:gd name="connsiteY1" fmla="*/ 0 h 314671"/>
                <a:gd name="connsiteX2" fmla="*/ 170378 w 539436"/>
                <a:gd name="connsiteY2" fmla="*/ 192022 h 314671"/>
                <a:gd name="connsiteX3" fmla="*/ 219215 w 539436"/>
                <a:gd name="connsiteY3" fmla="*/ 0 h 314671"/>
                <a:gd name="connsiteX4" fmla="*/ 324661 w 539436"/>
                <a:gd name="connsiteY4" fmla="*/ 0 h 314671"/>
                <a:gd name="connsiteX5" fmla="*/ 373498 w 539436"/>
                <a:gd name="connsiteY5" fmla="*/ 192022 h 314671"/>
                <a:gd name="connsiteX6" fmla="*/ 420116 w 539436"/>
                <a:gd name="connsiteY6" fmla="*/ 0 h 314671"/>
                <a:gd name="connsiteX7" fmla="*/ 539436 w 539436"/>
                <a:gd name="connsiteY7" fmla="*/ 0 h 314671"/>
                <a:gd name="connsiteX8" fmla="*/ 440650 w 539436"/>
                <a:gd name="connsiteY8" fmla="*/ 314671 h 314671"/>
                <a:gd name="connsiteX9" fmla="*/ 318001 w 539436"/>
                <a:gd name="connsiteY9" fmla="*/ 314671 h 314671"/>
                <a:gd name="connsiteX10" fmla="*/ 272493 w 539436"/>
                <a:gd name="connsiteY10" fmla="*/ 132639 h 314671"/>
                <a:gd name="connsiteX11" fmla="*/ 226985 w 539436"/>
                <a:gd name="connsiteY11" fmla="*/ 314671 h 314671"/>
                <a:gd name="connsiteX12" fmla="*/ 104335 w 539436"/>
                <a:gd name="connsiteY12" fmla="*/ 314671 h 314671"/>
                <a:gd name="connsiteX13" fmla="*/ 0 w 539436"/>
                <a:gd name="connsiteY13" fmla="*/ 0 h 31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9436" h="314671">
                  <a:moveTo>
                    <a:pt x="0" y="0"/>
                  </a:moveTo>
                  <a:lnTo>
                    <a:pt x="123759" y="0"/>
                  </a:lnTo>
                  <a:lnTo>
                    <a:pt x="170378" y="192022"/>
                  </a:lnTo>
                  <a:lnTo>
                    <a:pt x="219215" y="0"/>
                  </a:lnTo>
                  <a:lnTo>
                    <a:pt x="324661" y="0"/>
                  </a:lnTo>
                  <a:lnTo>
                    <a:pt x="373498" y="192022"/>
                  </a:lnTo>
                  <a:lnTo>
                    <a:pt x="420116" y="0"/>
                  </a:lnTo>
                  <a:lnTo>
                    <a:pt x="539436" y="0"/>
                  </a:lnTo>
                  <a:lnTo>
                    <a:pt x="440650" y="314671"/>
                  </a:lnTo>
                  <a:lnTo>
                    <a:pt x="318001" y="314671"/>
                  </a:lnTo>
                  <a:lnTo>
                    <a:pt x="272493" y="132639"/>
                  </a:lnTo>
                  <a:lnTo>
                    <a:pt x="226985" y="314671"/>
                  </a:lnTo>
                  <a:lnTo>
                    <a:pt x="104335" y="3146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733F160-0095-4B3F-BC03-55433D6287BA}"/>
                </a:ext>
              </a:extLst>
            </p:cNvPr>
            <p:cNvSpPr/>
            <p:nvPr/>
          </p:nvSpPr>
          <p:spPr>
            <a:xfrm>
              <a:off x="6618786" y="3297470"/>
              <a:ext cx="359623" cy="337425"/>
            </a:xfrm>
            <a:custGeom>
              <a:avLst/>
              <a:gdLst>
                <a:gd name="connsiteX0" fmla="*/ 349634 w 359623"/>
                <a:gd name="connsiteY0" fmla="*/ 233090 h 337425"/>
                <a:gd name="connsiteX1" fmla="*/ 175927 w 359623"/>
                <a:gd name="connsiteY1" fmla="*/ 337425 h 337425"/>
                <a:gd name="connsiteX2" fmla="*/ 0 w 359623"/>
                <a:gd name="connsiteY2" fmla="*/ 171487 h 337425"/>
                <a:gd name="connsiteX3" fmla="*/ 180922 w 359623"/>
                <a:gd name="connsiteY3" fmla="*/ 0 h 337425"/>
                <a:gd name="connsiteX4" fmla="*/ 359624 w 359623"/>
                <a:gd name="connsiteY4" fmla="*/ 188692 h 337425"/>
                <a:gd name="connsiteX5" fmla="*/ 359624 w 359623"/>
                <a:gd name="connsiteY5" fmla="*/ 196461 h 337425"/>
                <a:gd name="connsiteX6" fmla="*/ 124869 w 359623"/>
                <a:gd name="connsiteY6" fmla="*/ 196461 h 337425"/>
                <a:gd name="connsiteX7" fmla="*/ 183142 w 359623"/>
                <a:gd name="connsiteY7" fmla="*/ 259174 h 337425"/>
                <a:gd name="connsiteX8" fmla="*/ 229760 w 359623"/>
                <a:gd name="connsiteY8" fmla="*/ 233090 h 337425"/>
                <a:gd name="connsiteX9" fmla="*/ 349634 w 359623"/>
                <a:gd name="connsiteY9" fmla="*/ 233090 h 337425"/>
                <a:gd name="connsiteX10" fmla="*/ 236419 w 359623"/>
                <a:gd name="connsiteY10" fmla="*/ 133749 h 337425"/>
                <a:gd name="connsiteX11" fmla="*/ 179812 w 359623"/>
                <a:gd name="connsiteY11" fmla="*/ 74922 h 337425"/>
                <a:gd name="connsiteX12" fmla="*/ 125424 w 359623"/>
                <a:gd name="connsiteY12" fmla="*/ 133749 h 337425"/>
                <a:gd name="connsiteX13" fmla="*/ 236419 w 359623"/>
                <a:gd name="connsiteY13" fmla="*/ 133749 h 33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623" h="337425">
                  <a:moveTo>
                    <a:pt x="349634" y="233090"/>
                  </a:moveTo>
                  <a:cubicBezTo>
                    <a:pt x="332430" y="301352"/>
                    <a:pt x="273048" y="337425"/>
                    <a:pt x="175927" y="337425"/>
                  </a:cubicBezTo>
                  <a:cubicBezTo>
                    <a:pt x="67152" y="337425"/>
                    <a:pt x="0" y="271938"/>
                    <a:pt x="0" y="171487"/>
                  </a:cubicBezTo>
                  <a:cubicBezTo>
                    <a:pt x="0" y="66042"/>
                    <a:pt x="68817" y="0"/>
                    <a:pt x="180922" y="0"/>
                  </a:cubicBezTo>
                  <a:cubicBezTo>
                    <a:pt x="292472" y="0"/>
                    <a:pt x="359624" y="69927"/>
                    <a:pt x="359624" y="188692"/>
                  </a:cubicBezTo>
                  <a:cubicBezTo>
                    <a:pt x="359624" y="190912"/>
                    <a:pt x="359624" y="194241"/>
                    <a:pt x="359624" y="196461"/>
                  </a:cubicBezTo>
                  <a:lnTo>
                    <a:pt x="124869" y="196461"/>
                  </a:lnTo>
                  <a:cubicBezTo>
                    <a:pt x="125979" y="236975"/>
                    <a:pt x="146513" y="259174"/>
                    <a:pt x="183142" y="259174"/>
                  </a:cubicBezTo>
                  <a:cubicBezTo>
                    <a:pt x="207561" y="259174"/>
                    <a:pt x="224210" y="249739"/>
                    <a:pt x="229760" y="233090"/>
                  </a:cubicBezTo>
                  <a:lnTo>
                    <a:pt x="349634" y="233090"/>
                  </a:lnTo>
                  <a:close/>
                  <a:moveTo>
                    <a:pt x="236419" y="133749"/>
                  </a:moveTo>
                  <a:cubicBezTo>
                    <a:pt x="234200" y="94901"/>
                    <a:pt x="215330" y="74922"/>
                    <a:pt x="179812" y="74922"/>
                  </a:cubicBezTo>
                  <a:cubicBezTo>
                    <a:pt x="147068" y="74922"/>
                    <a:pt x="127089" y="96011"/>
                    <a:pt x="125424" y="133749"/>
                  </a:cubicBezTo>
                  <a:lnTo>
                    <a:pt x="236419" y="133749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E70C7C95-CC18-4914-BB47-58D2615D02F3}"/>
                </a:ext>
              </a:extLst>
            </p:cNvPr>
            <p:cNvSpPr/>
            <p:nvPr/>
          </p:nvSpPr>
          <p:spPr>
            <a:xfrm>
              <a:off x="7011153" y="3300800"/>
              <a:ext cx="224210" cy="322995"/>
            </a:xfrm>
            <a:custGeom>
              <a:avLst/>
              <a:gdLst>
                <a:gd name="connsiteX0" fmla="*/ 0 w 224210"/>
                <a:gd name="connsiteY0" fmla="*/ 8325 h 322995"/>
                <a:gd name="connsiteX1" fmla="*/ 115435 w 224210"/>
                <a:gd name="connsiteY1" fmla="*/ 8325 h 322995"/>
                <a:gd name="connsiteX2" fmla="*/ 115435 w 224210"/>
                <a:gd name="connsiteY2" fmla="*/ 66042 h 322995"/>
                <a:gd name="connsiteX3" fmla="*/ 213111 w 224210"/>
                <a:gd name="connsiteY3" fmla="*/ 0 h 322995"/>
                <a:gd name="connsiteX4" fmla="*/ 224210 w 224210"/>
                <a:gd name="connsiteY4" fmla="*/ 0 h 322995"/>
                <a:gd name="connsiteX5" fmla="*/ 224210 w 224210"/>
                <a:gd name="connsiteY5" fmla="*/ 124869 h 322995"/>
                <a:gd name="connsiteX6" fmla="*/ 198681 w 224210"/>
                <a:gd name="connsiteY6" fmla="*/ 123205 h 322995"/>
                <a:gd name="connsiteX7" fmla="*/ 125424 w 224210"/>
                <a:gd name="connsiteY7" fmla="*/ 193686 h 322995"/>
                <a:gd name="connsiteX8" fmla="*/ 125424 w 224210"/>
                <a:gd name="connsiteY8" fmla="*/ 322996 h 322995"/>
                <a:gd name="connsiteX9" fmla="*/ 0 w 224210"/>
                <a:gd name="connsiteY9" fmla="*/ 322996 h 322995"/>
                <a:gd name="connsiteX10" fmla="*/ 0 w 224210"/>
                <a:gd name="connsiteY10" fmla="*/ 8325 h 3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210" h="322995">
                  <a:moveTo>
                    <a:pt x="0" y="8325"/>
                  </a:moveTo>
                  <a:lnTo>
                    <a:pt x="115435" y="8325"/>
                  </a:lnTo>
                  <a:lnTo>
                    <a:pt x="115435" y="66042"/>
                  </a:lnTo>
                  <a:cubicBezTo>
                    <a:pt x="132084" y="19979"/>
                    <a:pt x="162053" y="0"/>
                    <a:pt x="213111" y="0"/>
                  </a:cubicBezTo>
                  <a:cubicBezTo>
                    <a:pt x="216440" y="0"/>
                    <a:pt x="220880" y="0"/>
                    <a:pt x="224210" y="0"/>
                  </a:cubicBezTo>
                  <a:lnTo>
                    <a:pt x="224210" y="124869"/>
                  </a:lnTo>
                  <a:cubicBezTo>
                    <a:pt x="214776" y="123760"/>
                    <a:pt x="206451" y="123205"/>
                    <a:pt x="198681" y="123205"/>
                  </a:cubicBezTo>
                  <a:cubicBezTo>
                    <a:pt x="148178" y="123205"/>
                    <a:pt x="125424" y="145404"/>
                    <a:pt x="125424" y="193686"/>
                  </a:cubicBezTo>
                  <a:lnTo>
                    <a:pt x="125424" y="322996"/>
                  </a:lnTo>
                  <a:lnTo>
                    <a:pt x="0" y="322996"/>
                  </a:lnTo>
                  <a:lnTo>
                    <a:pt x="0" y="8325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4" name="MIO_AGENDA_LAST_SLIDE" hidden="1">
            <a:extLst>
              <a:ext uri="{FF2B5EF4-FFF2-40B4-BE49-F238E27FC236}">
                <a16:creationId xmlns:a16="http://schemas.microsoft.com/office/drawing/2014/main" id="{B202F153-78E6-4268-A965-70853F9B656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8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&#10;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9216FF1A-DC4D-4193-B093-8415568FD1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201"/>
            <a:ext cx="12192000" cy="6760799"/>
          </a:xfrm>
          <a:solidFill>
            <a:schemeClr val="bg1"/>
          </a:solidFill>
        </p:spPr>
        <p:txBody>
          <a:bodyPr bIns="972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53E13F2-393C-4C28-8FBF-51B674756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110038"/>
            <a:ext cx="10178400" cy="971550"/>
          </a:xfrm>
          <a:solidFill>
            <a:srgbClr val="FFFFFF">
              <a:alpha val="80000"/>
            </a:srgbClr>
          </a:solidFill>
        </p:spPr>
        <p:txBody>
          <a:bodyPr lIns="457200" rIns="97200" bIns="97200" anchor="t"/>
          <a:lstStyle>
            <a:lvl1pPr>
              <a:defRPr sz="5400" baseline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ection number">
            <a:extLst>
              <a:ext uri="{FF2B5EF4-FFF2-40B4-BE49-F238E27FC236}">
                <a16:creationId xmlns:a16="http://schemas.microsoft.com/office/drawing/2014/main" id="{B1BD64D5-D9CB-4EEC-8DC6-67BB452D5B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2359800"/>
            <a:ext cx="2208001" cy="155575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457200" anchor="b">
            <a:noAutofit/>
          </a:bodyPr>
          <a:lstStyle>
            <a:lvl1pPr marL="0" indent="0">
              <a:buNone/>
              <a:defRPr sz="9600" b="1" i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Datumsplatzhalter 8" hidden="1">
            <a:extLst>
              <a:ext uri="{FF2B5EF4-FFF2-40B4-BE49-F238E27FC236}">
                <a16:creationId xmlns:a16="http://schemas.microsoft.com/office/drawing/2014/main" id="{E3160AFB-A001-46E5-812A-AED9FE2652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ußzeilenplatzhalter 9" hidden="1">
            <a:extLst>
              <a:ext uri="{FF2B5EF4-FFF2-40B4-BE49-F238E27FC236}">
                <a16:creationId xmlns:a16="http://schemas.microsoft.com/office/drawing/2014/main" id="{F4E9AD7E-F42A-4B85-B84D-209EDD40E6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 hidden="1">
            <a:extLst>
              <a:ext uri="{FF2B5EF4-FFF2-40B4-BE49-F238E27FC236}">
                <a16:creationId xmlns:a16="http://schemas.microsoft.com/office/drawing/2014/main" id="{AD2A8790-FA62-42F7-8E09-1C93064AB9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32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3201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2466">
          <p15:clr>
            <a:srgbClr val="547EBF"/>
          </p15:clr>
        </p15:guide>
        <p15:guide id="4" orient="horz" pos="1486">
          <p15:clr>
            <a:srgbClr val="547EBF"/>
          </p15:clr>
        </p15:guide>
        <p15:guide id="5" pos="139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DCADD61-C74B-40A1-96F4-049AD481F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4110038"/>
            <a:ext cx="9720000" cy="971550"/>
          </a:xfrm>
        </p:spPr>
        <p:txBody>
          <a:bodyPr lIns="0" tIns="0" rIns="97200" bIns="972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0" i="0" kern="1200" spc="-1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ection number">
            <a:extLst>
              <a:ext uri="{FF2B5EF4-FFF2-40B4-BE49-F238E27FC236}">
                <a16:creationId xmlns:a16="http://schemas.microsoft.com/office/drawing/2014/main" id="{6B06C54C-29C7-412C-B0CE-94706D7D219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8400" y="2359800"/>
            <a:ext cx="1749813" cy="1555750"/>
          </a:xfrm>
          <a:prstGeom prst="rect">
            <a:avLst/>
          </a:prstGeom>
          <a:noFill/>
        </p:spPr>
        <p:txBody>
          <a:bodyPr lIns="0" anchor="b">
            <a:noAutofit/>
          </a:bodyPr>
          <a:lstStyle>
            <a:lvl1pPr marL="0" indent="0">
              <a:buNone/>
              <a:defRPr sz="9600" b="1" i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77C2D8-6511-40C2-9881-B168E1472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C75488-7C9A-436F-8D24-4644ED82C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465382-E7B6-43BE-AE10-6F1A156ED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063C1AA5-C6ED-4218-9760-EBB45BB7C91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2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1486">
          <p15:clr>
            <a:srgbClr val="547EBF"/>
          </p15:clr>
        </p15:guide>
        <p15:guide id="2" orient="horz" pos="2466">
          <p15:clr>
            <a:srgbClr val="547EBF"/>
          </p15:clr>
        </p15:guide>
        <p15:guide id="3" orient="horz" pos="2589">
          <p15:clr>
            <a:srgbClr val="547EBF"/>
          </p15:clr>
        </p15:guide>
        <p15:guide id="4" orient="horz" pos="3201">
          <p15:clr>
            <a:srgbClr val="547EBF"/>
          </p15:clr>
        </p15:guide>
        <p15:guide id="5" pos="1391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&#10;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C6D96D0-601C-4EF4-89A1-957805A8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 hidden="1">
            <a:extLst>
              <a:ext uri="{FF2B5EF4-FFF2-40B4-BE49-F238E27FC236}">
                <a16:creationId xmlns:a16="http://schemas.microsoft.com/office/drawing/2014/main" id="{3DA70D42-2270-48BE-A769-DECBB451B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 hidden="1">
            <a:extLst>
              <a:ext uri="{FF2B5EF4-FFF2-40B4-BE49-F238E27FC236}">
                <a16:creationId xmlns:a16="http://schemas.microsoft.com/office/drawing/2014/main" id="{4294E9C2-A90D-4F0C-9F1C-DEDC85BEB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 hidden="1">
            <a:extLst>
              <a:ext uri="{FF2B5EF4-FFF2-40B4-BE49-F238E27FC236}">
                <a16:creationId xmlns:a16="http://schemas.microsoft.com/office/drawing/2014/main" id="{38C5FFCA-2161-4F74-8D09-AD7CE0DEF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9552A3A9-3B5B-49D3-B1ED-2F567F133A5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27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01">
          <p15:clr>
            <a:srgbClr val="547EBF"/>
          </p15:clr>
        </p15:guide>
        <p15:guide id="2" orient="horz" pos="568">
          <p15:clr>
            <a:srgbClr val="547EBF"/>
          </p15:clr>
        </p15:guide>
        <p15:guide id="3" orient="horz" pos="874">
          <p15:clr>
            <a:srgbClr val="547EBF"/>
          </p15:clr>
        </p15:guide>
        <p15:guide id="4" orient="horz" pos="4058">
          <p15:clr>
            <a:srgbClr val="547EBF"/>
          </p15:clr>
        </p15:guide>
        <p15:guide id="5" pos="289">
          <p15:clr>
            <a:srgbClr val="547EBF"/>
          </p15:clr>
        </p15:guide>
        <p15:guide id="6" pos="739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&#10;(grey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C6D96D0-601C-4EF4-89A1-957805A8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 hidden="1">
            <a:extLst>
              <a:ext uri="{FF2B5EF4-FFF2-40B4-BE49-F238E27FC236}">
                <a16:creationId xmlns:a16="http://schemas.microsoft.com/office/drawing/2014/main" id="{3DA70D42-2270-48BE-A769-DECBB451B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 hidden="1">
            <a:extLst>
              <a:ext uri="{FF2B5EF4-FFF2-40B4-BE49-F238E27FC236}">
                <a16:creationId xmlns:a16="http://schemas.microsoft.com/office/drawing/2014/main" id="{4294E9C2-A90D-4F0C-9F1C-DEDC85BEB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 hidden="1">
            <a:extLst>
              <a:ext uri="{FF2B5EF4-FFF2-40B4-BE49-F238E27FC236}">
                <a16:creationId xmlns:a16="http://schemas.microsoft.com/office/drawing/2014/main" id="{38C5FFCA-2161-4F74-8D09-AD7CE0DEF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96657572-7DD5-4FBD-9424-0C7DA1DA4BC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72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pos="7391">
          <p15:clr>
            <a:srgbClr val="547EBF"/>
          </p15:clr>
        </p15:guide>
        <p15:guide id="3" orient="horz" pos="874">
          <p15:clr>
            <a:srgbClr val="547EBF"/>
          </p15:clr>
        </p15:guide>
        <p15:guide id="4" orient="horz" pos="4058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&#10;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71FD0A70-20FA-4139-8554-C480AEC81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0"/>
            <a:ext cx="11275200" cy="5831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E7B4F71A-6BC6-4707-B709-3B671E3736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Datumsplatzhalter 7" hidden="1">
            <a:extLst>
              <a:ext uri="{FF2B5EF4-FFF2-40B4-BE49-F238E27FC236}">
                <a16:creationId xmlns:a16="http://schemas.microsoft.com/office/drawing/2014/main" id="{45995338-C075-443E-BCD9-57AC0BD30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ußzeilenplatzhalter 8" hidden="1">
            <a:extLst>
              <a:ext uri="{FF2B5EF4-FFF2-40B4-BE49-F238E27FC236}">
                <a16:creationId xmlns:a16="http://schemas.microsoft.com/office/drawing/2014/main" id="{EDB92EB2-2891-4690-BC8E-12A925966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 hidden="1">
            <a:extLst>
              <a:ext uri="{FF2B5EF4-FFF2-40B4-BE49-F238E27FC236}">
                <a16:creationId xmlns:a16="http://schemas.microsoft.com/office/drawing/2014/main" id="{9E8525FA-DBC8-4755-8063-C0756A0EF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Layoutschutz" hidden="1">
            <a:extLst>
              <a:ext uri="{FF2B5EF4-FFF2-40B4-BE49-F238E27FC236}">
                <a16:creationId xmlns:a16="http://schemas.microsoft.com/office/drawing/2014/main" id="{22926BE3-FAA0-4E52-AF29-7B5EED276C3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16="http://schemas.microsoft.com/office/drawing/2014/main"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orient="horz" pos="568">
          <p15:clr>
            <a:srgbClr val="547EBF"/>
          </p15:clr>
        </p15:guide>
        <p15:guide id="3" orient="horz" pos="201">
          <p15:clr>
            <a:srgbClr val="547EBF"/>
          </p15:clr>
        </p15:guide>
        <p15:guide id="4" orient="horz" pos="874">
          <p15:clr>
            <a:srgbClr val="547EBF"/>
          </p15:clr>
        </p15:guide>
        <p15:guide id="5" orient="horz" pos="4058">
          <p15:clr>
            <a:srgbClr val="547EBF"/>
          </p15:clr>
        </p15:guide>
        <p15:guide id="6" pos="739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&#10;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>
            <a:extLst>
              <a:ext uri="{FF2B5EF4-FFF2-40B4-BE49-F238E27FC236}">
                <a16:creationId xmlns:a16="http://schemas.microsoft.com/office/drawing/2014/main" id="{4639AF86-5357-4C89-B939-8652EEA14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1" y="1387801"/>
            <a:ext cx="5443200" cy="583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right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0400" y="1387801"/>
            <a:ext cx="5443200" cy="583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58401" y="1971000"/>
            <a:ext cx="5443200" cy="44712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90400" y="1971000"/>
            <a:ext cx="5443200" cy="44712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2" name="Layoutschutz" hidden="1">
            <a:extLst>
              <a:ext uri="{FF2B5EF4-FFF2-40B4-BE49-F238E27FC236}">
                <a16:creationId xmlns:a16="http://schemas.microsoft.com/office/drawing/2014/main" id="{8A35D446-FE94-41E5-AD7A-C82E9941EA6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01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orient="horz" pos="201">
          <p15:clr>
            <a:srgbClr val="547EBF"/>
          </p15:clr>
        </p15:guide>
        <p15:guide id="3" pos="3718">
          <p15:clr>
            <a:srgbClr val="547EBF"/>
          </p15:clr>
        </p15:guide>
        <p15:guide id="4" pos="7391">
          <p15:clr>
            <a:srgbClr val="547EBF"/>
          </p15:clr>
        </p15:guide>
        <p15:guide id="5" pos="3962">
          <p15:clr>
            <a:srgbClr val="547EBF"/>
          </p15:clr>
        </p15:guide>
        <p15:guide id="6" orient="horz" pos="568">
          <p15:clr>
            <a:srgbClr val="547EBF"/>
          </p15:clr>
        </p15:guide>
        <p15:guide id="7" orient="horz" pos="874">
          <p15:clr>
            <a:srgbClr val="547EBF"/>
          </p15:clr>
        </p15:guide>
        <p15:guide id="8" orient="horz" pos="1242">
          <p15:clr>
            <a:srgbClr val="547EBF"/>
          </p15:clr>
        </p15:guide>
        <p15:guide id="9" orient="horz" pos="4058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&#10;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>
            <a:extLst>
              <a:ext uri="{FF2B5EF4-FFF2-40B4-BE49-F238E27FC236}">
                <a16:creationId xmlns:a16="http://schemas.microsoft.com/office/drawing/2014/main" id="{4639AF86-5357-4C89-B939-8652EEA14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center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6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Headline right">
            <a:extLst>
              <a:ext uri="{FF2B5EF4-FFF2-40B4-BE49-F238E27FC236}">
                <a16:creationId xmlns:a16="http://schemas.microsoft.com/office/drawing/2014/main" id="{E7920CA0-579D-47FA-9A0A-7A5B020DE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34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center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46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F9AF96E0-53C6-482E-95AD-957DBCFA5C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34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7" name="Layoutschutz" hidden="1">
            <a:extLst>
              <a:ext uri="{FF2B5EF4-FFF2-40B4-BE49-F238E27FC236}">
                <a16:creationId xmlns:a16="http://schemas.microsoft.com/office/drawing/2014/main" id="{BECC4F1C-3610-4748-946F-1288169304C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00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orient="horz" pos="2099">
          <p15:clr>
            <a:srgbClr val="547EBF"/>
          </p15:clr>
        </p15:guide>
        <p15:guide id="5" pos="2738">
          <p15:clr>
            <a:srgbClr val="547EBF"/>
          </p15:clr>
        </p15:guide>
        <p15:guide id="6" pos="289">
          <p15:clr>
            <a:srgbClr val="547EBF"/>
          </p15:clr>
        </p15:guide>
        <p15:guide id="7" pos="4942">
          <p15:clr>
            <a:srgbClr val="547EBF"/>
          </p15:clr>
        </p15:guide>
        <p15:guide id="8" pos="5187">
          <p15:clr>
            <a:srgbClr val="547EBF"/>
          </p15:clr>
        </p15:guide>
        <p15:guide id="9" pos="7391">
          <p15:clr>
            <a:srgbClr val="547EBF"/>
          </p15:clr>
        </p15:guide>
        <p15:guide id="10" orient="horz" pos="2282">
          <p15:clr>
            <a:srgbClr val="547EBF"/>
          </p15:clr>
        </p15:guide>
        <p15:guide id="11" orient="horz" pos="1364">
          <p15:clr>
            <a:srgbClr val="A4A3A4"/>
          </p15:clr>
        </p15:guide>
        <p15:guide id="12" pos="1391">
          <p15:clr>
            <a:srgbClr val="A4A3A4"/>
          </p15:clr>
        </p15:guide>
        <p15:guide id="13" pos="3840">
          <p15:clr>
            <a:srgbClr val="A4A3A4"/>
          </p15:clr>
        </p15:guide>
        <p15:guide id="14" pos="6289">
          <p15:clr>
            <a:srgbClr val="A4A3A4"/>
          </p15:clr>
        </p15:guide>
        <p15:guide id="15" orient="horz" pos="874">
          <p15:clr>
            <a:srgbClr val="547EBF"/>
          </p15:clr>
        </p15:guide>
        <p15:guide id="16" orient="horz" pos="4058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Content with&#10;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4DF720-FC23-45C2-8016-3D431C0FE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5443200" cy="58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EF6A0E3D-0F3F-48A4-8CB4-3ED3260C86C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8788" y="1387475"/>
            <a:ext cx="5443537" cy="5054600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D8C158F4-8406-4C77-8504-FFCC13CA1F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0400" y="97201"/>
            <a:ext cx="5901600" cy="6760799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 algn="ctr"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7BD5A3-FD1B-4133-B010-6FFA76FD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22A3E-E60C-4747-89A1-27BFCBA55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90479B-AEF2-40F1-BB30-D531AD0F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3C2F97AD-E828-40AE-B54D-6B404A76B16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04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pos="3718">
          <p15:clr>
            <a:srgbClr val="547EBF"/>
          </p15:clr>
        </p15:guide>
        <p15:guide id="3" pos="3962">
          <p15:clr>
            <a:srgbClr val="547EBF"/>
          </p15:clr>
        </p15:guide>
        <p15:guide id="4" orient="horz" pos="201">
          <p15:clr>
            <a:srgbClr val="547EBF"/>
          </p15:clr>
        </p15:guide>
        <p15:guide id="5" orient="horz" pos="4058">
          <p15:clr>
            <a:srgbClr val="547EBF"/>
          </p15:clr>
        </p15:guide>
        <p15:guide id="6" orient="horz" pos="874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Master field_Confidentiality EN" hidden="1">
            <a:extLst>
              <a:ext uri="{FF2B5EF4-FFF2-40B4-BE49-F238E27FC236}">
                <a16:creationId xmlns:a16="http://schemas.microsoft.com/office/drawing/2014/main" id="{E6F180B5-9536-4681-A47C-FA354CB7ADA2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 b="1"/>
          </a:p>
        </p:txBody>
      </p:sp>
      <p:sp>
        <p:nvSpPr>
          <p:cNvPr id="374" name="Masterfeld_Vertraulichkeit DE" hidden="1">
            <a:extLst>
              <a:ext uri="{FF2B5EF4-FFF2-40B4-BE49-F238E27FC236}">
                <a16:creationId xmlns:a16="http://schemas.microsoft.com/office/drawing/2014/main" id="{91E76263-1413-4E56-A73E-0F3B59D1DB49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/>
          </a:p>
        </p:txBody>
      </p:sp>
      <p:sp>
        <p:nvSpPr>
          <p:cNvPr id="361" name="Master field_Watermark EN" hidden="1">
            <a:extLst>
              <a:ext uri="{FF2B5EF4-FFF2-40B4-BE49-F238E27FC236}">
                <a16:creationId xmlns:a16="http://schemas.microsoft.com/office/drawing/2014/main" id="{2490A5E6-D530-4963-9279-3817B7E6B5CA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 rot="20069185">
            <a:off x="-193555" y="2412413"/>
            <a:ext cx="12551509" cy="207109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400" b="0" i="0" u="none" baseline="0">
              <a:solidFill>
                <a:schemeClr val="bg1">
                  <a:lumMod val="9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53" name="Masterfeld_Wasserzeichen DE" hidden="1">
            <a:extLst>
              <a:ext uri="{FF2B5EF4-FFF2-40B4-BE49-F238E27FC236}">
                <a16:creationId xmlns:a16="http://schemas.microsoft.com/office/drawing/2014/main" id="{0BC60646-8464-4B5A-8398-EAD11080928A}"/>
              </a:ext>
            </a:extLst>
          </p:cNvPr>
          <p:cNvSpPr txBox="1">
            <a:spLocks/>
          </p:cNvSpPr>
          <p:nvPr userDrawn="1">
            <p:custDataLst>
              <p:tags r:id="rId24"/>
            </p:custDataLst>
          </p:nvPr>
        </p:nvSpPr>
        <p:spPr>
          <a:xfrm rot="20069185">
            <a:off x="-193556" y="2412413"/>
            <a:ext cx="12551509" cy="207109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400" b="0" i="0" u="none" baseline="0">
              <a:solidFill>
                <a:schemeClr val="bg1">
                  <a:lumMod val="9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55" name="Masterfeld_Label ALL" hidden="1">
            <a:extLst>
              <a:ext uri="{FF2B5EF4-FFF2-40B4-BE49-F238E27FC236}">
                <a16:creationId xmlns:a16="http://schemas.microsoft.com/office/drawing/2014/main" id="{8A504E50-55BB-435A-AC4B-D802930701B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999000"/>
            <a:ext cx="12192000" cy="2916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1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chemeClr val="bg1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62" name="Slide number decoration" hidden="1">
            <a:extLst>
              <a:ext uri="{FF2B5EF4-FFF2-40B4-BE49-F238E27FC236}">
                <a16:creationId xmlns:a16="http://schemas.microsoft.com/office/drawing/2014/main" id="{CB9D710C-4428-490E-8149-BCAF590EBEE6}"/>
              </a:ext>
            </a:extLst>
          </p:cNvPr>
          <p:cNvSpPr>
            <a:spLocks/>
          </p:cNvSpPr>
          <p:nvPr userDrawn="1">
            <p:custDataLst>
              <p:tags r:id="rId26"/>
            </p:custDataLst>
          </p:nvPr>
        </p:nvSpPr>
        <p:spPr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4" name="Slide number" hidden="1">
            <a:extLst>
              <a:ext uri="{FF2B5EF4-FFF2-40B4-BE49-F238E27FC236}">
                <a16:creationId xmlns:a16="http://schemas.microsoft.com/office/drawing/2014/main" id="{A41E70FE-9BE9-42DD-8EFC-6528AD602D8D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black"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buFont typeface="+mj-lt"/>
              <a:buNone/>
            </a:pPr>
            <a:fld id="{9D23E012-94D2-42CD-81AD-260BE659DD86}" type="slidenum">
              <a:rPr lang="de-DE" sz="9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pPr marL="0" indent="0" algn="ctr">
                <a:buFont typeface="+mj-lt"/>
                <a:buNone/>
              </a:pPr>
              <a:t>‹#›</a:t>
            </a:fld>
            <a:endParaRPr lang="de-DE" sz="900" b="1" i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39" name="Seitenzahl Dekoration" hidden="1">
            <a:extLst>
              <a:ext uri="{FF2B5EF4-FFF2-40B4-BE49-F238E27FC236}">
                <a16:creationId xmlns:a16="http://schemas.microsoft.com/office/drawing/2014/main" id="{74E615F6-F1BB-4564-B86C-D0367C24F988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0" name="Seitenzahl" hidden="1">
            <a:extLst>
              <a:ext uri="{FF2B5EF4-FFF2-40B4-BE49-F238E27FC236}">
                <a16:creationId xmlns:a16="http://schemas.microsoft.com/office/drawing/2014/main" id="{8EEB9423-3E67-4A2D-8E4E-DD5FE7C77AB8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 bwMode="black">
          <a:xfrm>
            <a:off x="11947200" y="6637338"/>
            <a:ext cx="244800" cy="193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buFont typeface="+mj-lt"/>
              <a:buNone/>
            </a:pPr>
            <a:fld id="{64A3D42F-8054-4016-A926-D2A0D6A99DC0}" type="slidenum">
              <a:rPr lang="de-DE" sz="9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‹#›</a:t>
            </a:fld>
            <a:endParaRPr lang="de-DE" sz="900" b="1" i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grpSp>
        <p:nvGrpSpPr>
          <p:cNvPr id="397" name="Master field_Guide lines EN" hidden="1">
            <a:extLst>
              <a:ext uri="{FF2B5EF4-FFF2-40B4-BE49-F238E27FC236}">
                <a16:creationId xmlns:a16="http://schemas.microsoft.com/office/drawing/2014/main" id="{52D2F486-2EA3-4D68-B7F3-E1E8CD207CCE}"/>
              </a:ext>
            </a:extLst>
          </p:cNvPr>
          <p:cNvGrpSpPr/>
          <p:nvPr userDrawn="1">
            <p:custDataLst>
              <p:tags r:id="rId30"/>
            </p:custDataLst>
          </p:nvPr>
        </p:nvGrpSpPr>
        <p:grpSpPr>
          <a:xfrm>
            <a:off x="69600" y="124200"/>
            <a:ext cx="12052800" cy="6636600"/>
            <a:chOff x="69600" y="124200"/>
            <a:chExt cx="12052800" cy="6636600"/>
          </a:xfrm>
        </p:grpSpPr>
        <p:cxnSp>
          <p:nvCxnSpPr>
            <p:cNvPr id="377" name="Gerader Verbinder 376" hidden="1">
              <a:extLst>
                <a:ext uri="{FF2B5EF4-FFF2-40B4-BE49-F238E27FC236}">
                  <a16:creationId xmlns:a16="http://schemas.microsoft.com/office/drawing/2014/main" id="{35A22685-D8FE-422D-8991-85986095451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Gerader Verbinder 377" hidden="1">
              <a:extLst>
                <a:ext uri="{FF2B5EF4-FFF2-40B4-BE49-F238E27FC236}">
                  <a16:creationId xmlns:a16="http://schemas.microsoft.com/office/drawing/2014/main" id="{2D619187-5999-4534-B10D-46AF9B3212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02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Gerader Verbinder 378" hidden="1">
              <a:extLst>
                <a:ext uri="{FF2B5EF4-FFF2-40B4-BE49-F238E27FC236}">
                  <a16:creationId xmlns:a16="http://schemas.microsoft.com/office/drawing/2014/main" id="{FDAB62DC-411F-463A-A53D-2A54C77A79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46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Gerader Verbinder 379" hidden="1">
              <a:extLst>
                <a:ext uri="{FF2B5EF4-FFF2-40B4-BE49-F238E27FC236}">
                  <a16:creationId xmlns:a16="http://schemas.microsoft.com/office/drawing/2014/main" id="{630DC423-D7D4-435A-9388-74C4F3EC67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90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Gerader Verbinder 380" hidden="1">
              <a:extLst>
                <a:ext uri="{FF2B5EF4-FFF2-40B4-BE49-F238E27FC236}">
                  <a16:creationId xmlns:a16="http://schemas.microsoft.com/office/drawing/2014/main" id="{C84AB79D-AA3D-498B-B640-F4A82B7ABD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34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Gerader Verbinder 381" hidden="1">
              <a:extLst>
                <a:ext uri="{FF2B5EF4-FFF2-40B4-BE49-F238E27FC236}">
                  <a16:creationId xmlns:a16="http://schemas.microsoft.com/office/drawing/2014/main" id="{12DE93C4-4D31-4B06-8754-A6601AEC23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7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Gerader Verbinder 382" hidden="1">
              <a:extLst>
                <a:ext uri="{FF2B5EF4-FFF2-40B4-BE49-F238E27FC236}">
                  <a16:creationId xmlns:a16="http://schemas.microsoft.com/office/drawing/2014/main" id="{C4E78B12-A65D-4964-BA5D-B02BA842A9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3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Gerader Verbinder 383" hidden="1">
              <a:extLst>
                <a:ext uri="{FF2B5EF4-FFF2-40B4-BE49-F238E27FC236}">
                  <a16:creationId xmlns:a16="http://schemas.microsoft.com/office/drawing/2014/main" id="{4EEE0AA0-FBFF-4933-A1A8-CF13CDAFD3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89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Gerader Verbinder 384" hidden="1">
              <a:extLst>
                <a:ext uri="{FF2B5EF4-FFF2-40B4-BE49-F238E27FC236}">
                  <a16:creationId xmlns:a16="http://schemas.microsoft.com/office/drawing/2014/main" id="{90E5B946-CACA-4D52-AA16-9154F10886B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45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Gerader Verbinder 385" hidden="1">
              <a:extLst>
                <a:ext uri="{FF2B5EF4-FFF2-40B4-BE49-F238E27FC236}">
                  <a16:creationId xmlns:a16="http://schemas.microsoft.com/office/drawing/2014/main" id="{EB0688EC-171C-4783-9303-D253FB8007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01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Gerader Verbinder 386" hidden="1">
              <a:extLst>
                <a:ext uri="{FF2B5EF4-FFF2-40B4-BE49-F238E27FC236}">
                  <a16:creationId xmlns:a16="http://schemas.microsoft.com/office/drawing/2014/main" id="{80327993-6097-4CC3-8E6E-8B24FA674F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957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Gerader Verbinder 387" hidden="1">
              <a:extLst>
                <a:ext uri="{FF2B5EF4-FFF2-40B4-BE49-F238E27FC236}">
                  <a16:creationId xmlns:a16="http://schemas.microsoft.com/office/drawing/2014/main" id="{BAB3CC89-54EF-4350-B782-54E20137BA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1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Gerader Verbinder 388" hidden="1">
              <a:extLst>
                <a:ext uri="{FF2B5EF4-FFF2-40B4-BE49-F238E27FC236}">
                  <a16:creationId xmlns:a16="http://schemas.microsoft.com/office/drawing/2014/main" id="{FEB299E7-65FE-4AD2-B145-AA3E9677D8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186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Gerader Verbinder 389" hidden="1">
              <a:extLst>
                <a:ext uri="{FF2B5EF4-FFF2-40B4-BE49-F238E27FC236}">
                  <a16:creationId xmlns:a16="http://schemas.microsoft.com/office/drawing/2014/main" id="{BFB5671E-653B-4B1E-AEED-3B44B2FCFE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90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Gerader Verbinder 390" hidden="1">
              <a:extLst>
                <a:ext uri="{FF2B5EF4-FFF2-40B4-BE49-F238E27FC236}">
                  <a16:creationId xmlns:a16="http://schemas.microsoft.com/office/drawing/2014/main" id="{1AA6AD2C-C78D-4EF0-A510-5F2BE28F66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Gerader Verbinder 391" hidden="1">
              <a:extLst>
                <a:ext uri="{FF2B5EF4-FFF2-40B4-BE49-F238E27FC236}">
                  <a16:creationId xmlns:a16="http://schemas.microsoft.com/office/drawing/2014/main" id="{8ED978A9-5654-488E-9F5E-E05D0CB448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2943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Gerader Verbinder 392" hidden="1">
              <a:extLst>
                <a:ext uri="{FF2B5EF4-FFF2-40B4-BE49-F238E27FC236}">
                  <a16:creationId xmlns:a16="http://schemas.microsoft.com/office/drawing/2014/main" id="{92A8A752-8B23-4825-91BF-AD28B79C57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Gerader Verbinder 393" hidden="1">
              <a:extLst>
                <a:ext uri="{FF2B5EF4-FFF2-40B4-BE49-F238E27FC236}">
                  <a16:creationId xmlns:a16="http://schemas.microsoft.com/office/drawing/2014/main" id="{D1A33259-C96B-4348-9AEE-20F0F36BB2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64422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Gerader Verbinder 394" hidden="1">
              <a:extLst>
                <a:ext uri="{FF2B5EF4-FFF2-40B4-BE49-F238E27FC236}">
                  <a16:creationId xmlns:a16="http://schemas.microsoft.com/office/drawing/2014/main" id="{982499CD-773F-4943-AAE2-31A2520892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Gerader Verbinder 395" hidden="1">
              <a:extLst>
                <a:ext uri="{FF2B5EF4-FFF2-40B4-BE49-F238E27FC236}">
                  <a16:creationId xmlns:a16="http://schemas.microsoft.com/office/drawing/2014/main" id="{99EE1CED-0A7D-417D-B4CB-7F500CC845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4887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4" name="Master field_Support grid EN" hidden="1">
            <a:extLst>
              <a:ext uri="{FF2B5EF4-FFF2-40B4-BE49-F238E27FC236}">
                <a16:creationId xmlns:a16="http://schemas.microsoft.com/office/drawing/2014/main" id="{E9D01B52-8D4C-463B-B858-E5C09B32BDAC}"/>
              </a:ext>
            </a:extLst>
          </p:cNvPr>
          <p:cNvGrpSpPr/>
          <p:nvPr userDrawn="1">
            <p:custDataLst>
              <p:tags r:id="rId31"/>
            </p:custDataLst>
          </p:nvPr>
        </p:nvGrpSpPr>
        <p:grpSpPr>
          <a:xfrm>
            <a:off x="-513599" y="-264599"/>
            <a:ext cx="12927599" cy="7387200"/>
            <a:chOff x="-513599" y="-264599"/>
            <a:chExt cx="12927599" cy="7387200"/>
          </a:xfrm>
        </p:grpSpPr>
        <p:cxnSp>
          <p:nvCxnSpPr>
            <p:cNvPr id="324" name="Gerader Verbinder 323" hidden="1">
              <a:extLst>
                <a:ext uri="{FF2B5EF4-FFF2-40B4-BE49-F238E27FC236}">
                  <a16:creationId xmlns:a16="http://schemas.microsoft.com/office/drawing/2014/main" id="{8B613D61-32FE-456F-87D0-95BD67C6F97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177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Gerader Verbinder 324" hidden="1">
              <a:extLst>
                <a:ext uri="{FF2B5EF4-FFF2-40B4-BE49-F238E27FC236}">
                  <a16:creationId xmlns:a16="http://schemas.microsoft.com/office/drawing/2014/main" id="{E414009B-951F-4758-98BA-98EB5568C69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359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Gerader Verbinder 325" hidden="1">
              <a:extLst>
                <a:ext uri="{FF2B5EF4-FFF2-40B4-BE49-F238E27FC236}">
                  <a16:creationId xmlns:a16="http://schemas.microsoft.com/office/drawing/2014/main" id="{68CCF0B9-652A-4FDA-AE73-6C0BD49733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Gerader Verbinder 326" hidden="1">
              <a:extLst>
                <a:ext uri="{FF2B5EF4-FFF2-40B4-BE49-F238E27FC236}">
                  <a16:creationId xmlns:a16="http://schemas.microsoft.com/office/drawing/2014/main" id="{0C0AC19C-5E09-40F3-9CC7-41D95CE020B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3526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Gerader Verbinder 327" hidden="1">
              <a:extLst>
                <a:ext uri="{FF2B5EF4-FFF2-40B4-BE49-F238E27FC236}">
                  <a16:creationId xmlns:a16="http://schemas.microsoft.com/office/drawing/2014/main" id="{79319A40-DE1D-477A-9B64-E3185C89E2F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Gerader Verbinder 328" hidden="1">
              <a:extLst>
                <a:ext uri="{FF2B5EF4-FFF2-40B4-BE49-F238E27FC236}">
                  <a16:creationId xmlns:a16="http://schemas.microsoft.com/office/drawing/2014/main" id="{4C98D0C5-3B4F-4EEC-9E56-E193E56FAF3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692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Gerader Verbinder 329" hidden="1">
              <a:extLst>
                <a:ext uri="{FF2B5EF4-FFF2-40B4-BE49-F238E27FC236}">
                  <a16:creationId xmlns:a16="http://schemas.microsoft.com/office/drawing/2014/main" id="{D9908D51-2AAF-4EE9-9EF4-864B40B950D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Gerader Verbinder 330" hidden="1">
              <a:extLst>
                <a:ext uri="{FF2B5EF4-FFF2-40B4-BE49-F238E27FC236}">
                  <a16:creationId xmlns:a16="http://schemas.microsoft.com/office/drawing/2014/main" id="{A0289920-BB74-44FF-BC6A-947EB5AF9A7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859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Gerader Verbinder 331" hidden="1">
              <a:extLst>
                <a:ext uri="{FF2B5EF4-FFF2-40B4-BE49-F238E27FC236}">
                  <a16:creationId xmlns:a16="http://schemas.microsoft.com/office/drawing/2014/main" id="{7A26C63B-14A8-44B9-9C41-73D521E690F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6442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Gerader Verbinder 161" hidden="1">
              <a:extLst>
                <a:ext uri="{FF2B5EF4-FFF2-40B4-BE49-F238E27FC236}">
                  <a16:creationId xmlns:a16="http://schemas.microsoft.com/office/drawing/2014/main" id="{12A01527-EC36-43A4-8168-EA5ACACD659C}"/>
                </a:ext>
              </a:extLst>
            </p:cNvPr>
            <p:cNvCxnSpPr/>
            <p:nvPr userDrawn="1"/>
          </p:nvCxnSpPr>
          <p:spPr>
            <a:xfrm>
              <a:off x="458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Gerader Verbinder 162" hidden="1">
              <a:extLst>
                <a:ext uri="{FF2B5EF4-FFF2-40B4-BE49-F238E27FC236}">
                  <a16:creationId xmlns:a16="http://schemas.microsoft.com/office/drawing/2014/main" id="{AFF8F76F-07BB-4636-83BB-3E7F688EB6B8}"/>
                </a:ext>
              </a:extLst>
            </p:cNvPr>
            <p:cNvCxnSpPr/>
            <p:nvPr userDrawn="1"/>
          </p:nvCxnSpPr>
          <p:spPr>
            <a:xfrm>
              <a:off x="1041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r Verbinder 163" hidden="1">
              <a:extLst>
                <a:ext uri="{FF2B5EF4-FFF2-40B4-BE49-F238E27FC236}">
                  <a16:creationId xmlns:a16="http://schemas.microsoft.com/office/drawing/2014/main" id="{5E3FEA2E-C9BE-48A1-B977-5DEA20160A56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Gerader Verbinder 164" hidden="1">
              <a:extLst>
                <a:ext uri="{FF2B5EF4-FFF2-40B4-BE49-F238E27FC236}">
                  <a16:creationId xmlns:a16="http://schemas.microsoft.com/office/drawing/2014/main" id="{81AE7047-AFB9-41E6-9784-F1B1BB35D8EE}"/>
                </a:ext>
              </a:extLst>
            </p:cNvPr>
            <p:cNvCxnSpPr/>
            <p:nvPr userDrawn="1"/>
          </p:nvCxnSpPr>
          <p:spPr>
            <a:xfrm>
              <a:off x="1430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Gerader Verbinder 165" hidden="1">
              <a:extLst>
                <a:ext uri="{FF2B5EF4-FFF2-40B4-BE49-F238E27FC236}">
                  <a16:creationId xmlns:a16="http://schemas.microsoft.com/office/drawing/2014/main" id="{A58DF263-DEC0-4E83-AADC-EC75EA4E7CA4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Gerader Verbinder 166" hidden="1">
              <a:extLst>
                <a:ext uri="{FF2B5EF4-FFF2-40B4-BE49-F238E27FC236}">
                  <a16:creationId xmlns:a16="http://schemas.microsoft.com/office/drawing/2014/main" id="{7E5897DD-9E4D-43E6-A151-C859D7D995C1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Gerader Verbinder 167" hidden="1">
              <a:extLst>
                <a:ext uri="{FF2B5EF4-FFF2-40B4-BE49-F238E27FC236}">
                  <a16:creationId xmlns:a16="http://schemas.microsoft.com/office/drawing/2014/main" id="{3E5BCDC3-814B-42BE-B4E1-583EB9EC9551}"/>
                </a:ext>
              </a:extLst>
            </p:cNvPr>
            <p:cNvCxnSpPr/>
            <p:nvPr userDrawn="1"/>
          </p:nvCxnSpPr>
          <p:spPr>
            <a:xfrm>
              <a:off x="2402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Gerader Verbinder 168" hidden="1">
              <a:extLst>
                <a:ext uri="{FF2B5EF4-FFF2-40B4-BE49-F238E27FC236}">
                  <a16:creationId xmlns:a16="http://schemas.microsoft.com/office/drawing/2014/main" id="{79073897-8DEA-4A99-AAFF-D9E0068EF9CF}"/>
                </a:ext>
              </a:extLst>
            </p:cNvPr>
            <p:cNvCxnSpPr/>
            <p:nvPr userDrawn="1"/>
          </p:nvCxnSpPr>
          <p:spPr>
            <a:xfrm>
              <a:off x="2985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r Verbinder 169" hidden="1">
              <a:extLst>
                <a:ext uri="{FF2B5EF4-FFF2-40B4-BE49-F238E27FC236}">
                  <a16:creationId xmlns:a16="http://schemas.microsoft.com/office/drawing/2014/main" id="{BFACF030-DE9E-4641-820A-75CF34D4E0C5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Gerader Verbinder 170" hidden="1">
              <a:extLst>
                <a:ext uri="{FF2B5EF4-FFF2-40B4-BE49-F238E27FC236}">
                  <a16:creationId xmlns:a16="http://schemas.microsoft.com/office/drawing/2014/main" id="{DFA3D003-C979-45E4-9EDE-7D92C1F54814}"/>
                </a:ext>
              </a:extLst>
            </p:cNvPr>
            <p:cNvCxnSpPr/>
            <p:nvPr userDrawn="1"/>
          </p:nvCxnSpPr>
          <p:spPr>
            <a:xfrm>
              <a:off x="3374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Gerader Verbinder 171" hidden="1">
              <a:extLst>
                <a:ext uri="{FF2B5EF4-FFF2-40B4-BE49-F238E27FC236}">
                  <a16:creationId xmlns:a16="http://schemas.microsoft.com/office/drawing/2014/main" id="{138B96AB-ED97-46EF-B58D-B36173E85FF9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Gerader Verbinder 172" hidden="1">
              <a:extLst>
                <a:ext uri="{FF2B5EF4-FFF2-40B4-BE49-F238E27FC236}">
                  <a16:creationId xmlns:a16="http://schemas.microsoft.com/office/drawing/2014/main" id="{30591B41-29E8-442C-80CA-7E2FCA47B29A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r Verbinder 173" hidden="1">
              <a:extLst>
                <a:ext uri="{FF2B5EF4-FFF2-40B4-BE49-F238E27FC236}">
                  <a16:creationId xmlns:a16="http://schemas.microsoft.com/office/drawing/2014/main" id="{75C3D05E-9562-4640-9378-4203E30C6405}"/>
                </a:ext>
              </a:extLst>
            </p:cNvPr>
            <p:cNvCxnSpPr/>
            <p:nvPr userDrawn="1"/>
          </p:nvCxnSpPr>
          <p:spPr>
            <a:xfrm>
              <a:off x="4346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r Verbinder 174" hidden="1">
              <a:extLst>
                <a:ext uri="{FF2B5EF4-FFF2-40B4-BE49-F238E27FC236}">
                  <a16:creationId xmlns:a16="http://schemas.microsoft.com/office/drawing/2014/main" id="{B5F7FE3F-AE90-439C-B05E-AB7EB6B2735D}"/>
                </a:ext>
              </a:extLst>
            </p:cNvPr>
            <p:cNvCxnSpPr/>
            <p:nvPr userDrawn="1"/>
          </p:nvCxnSpPr>
          <p:spPr>
            <a:xfrm>
              <a:off x="4929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r Verbinder 175" hidden="1">
              <a:extLst>
                <a:ext uri="{FF2B5EF4-FFF2-40B4-BE49-F238E27FC236}">
                  <a16:creationId xmlns:a16="http://schemas.microsoft.com/office/drawing/2014/main" id="{5548312C-FF09-4B93-B32E-3FE399BC7233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Gerader Verbinder 176" hidden="1">
              <a:extLst>
                <a:ext uri="{FF2B5EF4-FFF2-40B4-BE49-F238E27FC236}">
                  <a16:creationId xmlns:a16="http://schemas.microsoft.com/office/drawing/2014/main" id="{B111A49D-5115-44B3-8D86-28B349B8B6D0}"/>
                </a:ext>
              </a:extLst>
            </p:cNvPr>
            <p:cNvCxnSpPr/>
            <p:nvPr userDrawn="1"/>
          </p:nvCxnSpPr>
          <p:spPr>
            <a:xfrm>
              <a:off x="5318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 hidden="1">
              <a:extLst>
                <a:ext uri="{FF2B5EF4-FFF2-40B4-BE49-F238E27FC236}">
                  <a16:creationId xmlns:a16="http://schemas.microsoft.com/office/drawing/2014/main" id="{B618976C-AB49-4258-90C6-EC0DE84146EB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 hidden="1">
              <a:extLst>
                <a:ext uri="{FF2B5EF4-FFF2-40B4-BE49-F238E27FC236}">
                  <a16:creationId xmlns:a16="http://schemas.microsoft.com/office/drawing/2014/main" id="{5187CA9E-2E80-4CF2-A164-13C7250B6536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 hidden="1">
              <a:extLst>
                <a:ext uri="{FF2B5EF4-FFF2-40B4-BE49-F238E27FC236}">
                  <a16:creationId xmlns:a16="http://schemas.microsoft.com/office/drawing/2014/main" id="{DE8CCB6F-FF4E-4B7D-AB5D-D01C08011551}"/>
                </a:ext>
              </a:extLst>
            </p:cNvPr>
            <p:cNvCxnSpPr/>
            <p:nvPr userDrawn="1"/>
          </p:nvCxnSpPr>
          <p:spPr>
            <a:xfrm>
              <a:off x="6290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Gerader Verbinder 180" hidden="1">
              <a:extLst>
                <a:ext uri="{FF2B5EF4-FFF2-40B4-BE49-F238E27FC236}">
                  <a16:creationId xmlns:a16="http://schemas.microsoft.com/office/drawing/2014/main" id="{1B5F3707-82A2-43DC-87EB-0C10D9856DAE}"/>
                </a:ext>
              </a:extLst>
            </p:cNvPr>
            <p:cNvCxnSpPr/>
            <p:nvPr userDrawn="1"/>
          </p:nvCxnSpPr>
          <p:spPr>
            <a:xfrm>
              <a:off x="6873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Gerader Verbinder 181" hidden="1">
              <a:extLst>
                <a:ext uri="{FF2B5EF4-FFF2-40B4-BE49-F238E27FC236}">
                  <a16:creationId xmlns:a16="http://schemas.microsoft.com/office/drawing/2014/main" id="{D362C5CA-4586-48B4-9B7F-ED51BAA12B2D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Gerader Verbinder 182" hidden="1">
              <a:extLst>
                <a:ext uri="{FF2B5EF4-FFF2-40B4-BE49-F238E27FC236}">
                  <a16:creationId xmlns:a16="http://schemas.microsoft.com/office/drawing/2014/main" id="{499EF95A-CEBE-4114-AFC7-2C1C51B27680}"/>
                </a:ext>
              </a:extLst>
            </p:cNvPr>
            <p:cNvCxnSpPr/>
            <p:nvPr userDrawn="1"/>
          </p:nvCxnSpPr>
          <p:spPr>
            <a:xfrm>
              <a:off x="7262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Gerader Verbinder 183" hidden="1">
              <a:extLst>
                <a:ext uri="{FF2B5EF4-FFF2-40B4-BE49-F238E27FC236}">
                  <a16:creationId xmlns:a16="http://schemas.microsoft.com/office/drawing/2014/main" id="{F7284DE7-CBFA-4980-8F47-4A6CA9BDA2D7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Gerader Verbinder 184" hidden="1">
              <a:extLst>
                <a:ext uri="{FF2B5EF4-FFF2-40B4-BE49-F238E27FC236}">
                  <a16:creationId xmlns:a16="http://schemas.microsoft.com/office/drawing/2014/main" id="{1D9528E0-0FB8-47FE-95F0-C7276AED0E2C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Gerader Verbinder 185" hidden="1">
              <a:extLst>
                <a:ext uri="{FF2B5EF4-FFF2-40B4-BE49-F238E27FC236}">
                  <a16:creationId xmlns:a16="http://schemas.microsoft.com/office/drawing/2014/main" id="{90C0D9A5-E032-46C2-AB82-7519F3B5AE53}"/>
                </a:ext>
              </a:extLst>
            </p:cNvPr>
            <p:cNvCxnSpPr/>
            <p:nvPr userDrawn="1"/>
          </p:nvCxnSpPr>
          <p:spPr>
            <a:xfrm>
              <a:off x="8234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Gerader Verbinder 186" hidden="1">
              <a:extLst>
                <a:ext uri="{FF2B5EF4-FFF2-40B4-BE49-F238E27FC236}">
                  <a16:creationId xmlns:a16="http://schemas.microsoft.com/office/drawing/2014/main" id="{1D04C5D2-4EF4-4CCE-B0BB-6E66D6C1B300}"/>
                </a:ext>
              </a:extLst>
            </p:cNvPr>
            <p:cNvCxnSpPr/>
            <p:nvPr userDrawn="1"/>
          </p:nvCxnSpPr>
          <p:spPr>
            <a:xfrm>
              <a:off x="8817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Gerader Verbinder 187" hidden="1">
              <a:extLst>
                <a:ext uri="{FF2B5EF4-FFF2-40B4-BE49-F238E27FC236}">
                  <a16:creationId xmlns:a16="http://schemas.microsoft.com/office/drawing/2014/main" id="{98457F24-3621-47D0-A69B-A682B29423BF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Gerader Verbinder 188" hidden="1">
              <a:extLst>
                <a:ext uri="{FF2B5EF4-FFF2-40B4-BE49-F238E27FC236}">
                  <a16:creationId xmlns:a16="http://schemas.microsoft.com/office/drawing/2014/main" id="{C00D2193-F4E5-4C8F-9AE8-E6AD4CC85ECE}"/>
                </a:ext>
              </a:extLst>
            </p:cNvPr>
            <p:cNvCxnSpPr/>
            <p:nvPr userDrawn="1"/>
          </p:nvCxnSpPr>
          <p:spPr>
            <a:xfrm>
              <a:off x="9206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Gerader Verbinder 189" hidden="1">
              <a:extLst>
                <a:ext uri="{FF2B5EF4-FFF2-40B4-BE49-F238E27FC236}">
                  <a16:creationId xmlns:a16="http://schemas.microsoft.com/office/drawing/2014/main" id="{5FFB0FAB-D14D-4AD2-B032-3E709344D13C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Gerader Verbinder 190" hidden="1">
              <a:extLst>
                <a:ext uri="{FF2B5EF4-FFF2-40B4-BE49-F238E27FC236}">
                  <a16:creationId xmlns:a16="http://schemas.microsoft.com/office/drawing/2014/main" id="{FE89AC90-A430-43C3-BB56-DD93EB13C62E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Gerader Verbinder 191" hidden="1">
              <a:extLst>
                <a:ext uri="{FF2B5EF4-FFF2-40B4-BE49-F238E27FC236}">
                  <a16:creationId xmlns:a16="http://schemas.microsoft.com/office/drawing/2014/main" id="{B48E20DE-32AA-4705-A4EB-0BBB75A20FEE}"/>
                </a:ext>
              </a:extLst>
            </p:cNvPr>
            <p:cNvCxnSpPr/>
            <p:nvPr userDrawn="1"/>
          </p:nvCxnSpPr>
          <p:spPr>
            <a:xfrm>
              <a:off x="10178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 hidden="1">
              <a:extLst>
                <a:ext uri="{FF2B5EF4-FFF2-40B4-BE49-F238E27FC236}">
                  <a16:creationId xmlns:a16="http://schemas.microsoft.com/office/drawing/2014/main" id="{6713BEE0-FB92-4EA1-9C2E-EE88FE407772}"/>
                </a:ext>
              </a:extLst>
            </p:cNvPr>
            <p:cNvCxnSpPr/>
            <p:nvPr userDrawn="1"/>
          </p:nvCxnSpPr>
          <p:spPr>
            <a:xfrm>
              <a:off x="10761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 hidden="1">
              <a:extLst>
                <a:ext uri="{FF2B5EF4-FFF2-40B4-BE49-F238E27FC236}">
                  <a16:creationId xmlns:a16="http://schemas.microsoft.com/office/drawing/2014/main" id="{FCA209B8-D4D2-4475-9078-8742A39A8F9D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 hidden="1">
              <a:extLst>
                <a:ext uri="{FF2B5EF4-FFF2-40B4-BE49-F238E27FC236}">
                  <a16:creationId xmlns:a16="http://schemas.microsoft.com/office/drawing/2014/main" id="{3199AB2C-8244-46B3-A8B2-0511685143AC}"/>
                </a:ext>
              </a:extLst>
            </p:cNvPr>
            <p:cNvCxnSpPr/>
            <p:nvPr userDrawn="1"/>
          </p:nvCxnSpPr>
          <p:spPr>
            <a:xfrm>
              <a:off x="11150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Gerader Verbinder 195" hidden="1">
              <a:extLst>
                <a:ext uri="{FF2B5EF4-FFF2-40B4-BE49-F238E27FC236}">
                  <a16:creationId xmlns:a16="http://schemas.microsoft.com/office/drawing/2014/main" id="{CADE5581-9D53-44DD-9DD4-1C6C6734FA5A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Gerader Verbinder 196" hidden="1">
              <a:extLst>
                <a:ext uri="{FF2B5EF4-FFF2-40B4-BE49-F238E27FC236}">
                  <a16:creationId xmlns:a16="http://schemas.microsoft.com/office/drawing/2014/main" id="{D54AE410-45D2-4DBC-AD51-05B36DA31CB4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Gerader Verbinder 197" hidden="1">
              <a:extLst>
                <a:ext uri="{FF2B5EF4-FFF2-40B4-BE49-F238E27FC236}">
                  <a16:creationId xmlns:a16="http://schemas.microsoft.com/office/drawing/2014/main" id="{2D994C4A-13EF-4F97-AC98-A7BAE847A2C7}"/>
                </a:ext>
              </a:extLst>
            </p:cNvPr>
            <p:cNvCxnSpPr/>
            <p:nvPr userDrawn="1"/>
          </p:nvCxnSpPr>
          <p:spPr>
            <a:xfrm>
              <a:off x="1236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r Verbinder 198" hidden="1">
              <a:extLst>
                <a:ext uri="{FF2B5EF4-FFF2-40B4-BE49-F238E27FC236}">
                  <a16:creationId xmlns:a16="http://schemas.microsoft.com/office/drawing/2014/main" id="{20348D31-8C8C-4339-845E-14A05F97B186}"/>
                </a:ext>
              </a:extLst>
            </p:cNvPr>
            <p:cNvCxnSpPr/>
            <p:nvPr userDrawn="1"/>
          </p:nvCxnSpPr>
          <p:spPr>
            <a:xfrm>
              <a:off x="3180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r Verbinder 199" hidden="1">
              <a:extLst>
                <a:ext uri="{FF2B5EF4-FFF2-40B4-BE49-F238E27FC236}">
                  <a16:creationId xmlns:a16="http://schemas.microsoft.com/office/drawing/2014/main" id="{0B61F66C-390E-42C3-A174-AC617C867C5D}"/>
                </a:ext>
              </a:extLst>
            </p:cNvPr>
            <p:cNvCxnSpPr/>
            <p:nvPr userDrawn="1"/>
          </p:nvCxnSpPr>
          <p:spPr>
            <a:xfrm>
              <a:off x="5124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Gerader Verbinder 200" hidden="1">
              <a:extLst>
                <a:ext uri="{FF2B5EF4-FFF2-40B4-BE49-F238E27FC236}">
                  <a16:creationId xmlns:a16="http://schemas.microsoft.com/office/drawing/2014/main" id="{E8624E6D-34F1-4B94-BD90-370C4BCEE387}"/>
                </a:ext>
              </a:extLst>
            </p:cNvPr>
            <p:cNvCxnSpPr/>
            <p:nvPr userDrawn="1"/>
          </p:nvCxnSpPr>
          <p:spPr>
            <a:xfrm>
              <a:off x="7068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Gerader Verbinder 201" hidden="1">
              <a:extLst>
                <a:ext uri="{FF2B5EF4-FFF2-40B4-BE49-F238E27FC236}">
                  <a16:creationId xmlns:a16="http://schemas.microsoft.com/office/drawing/2014/main" id="{FC137449-AC46-4A13-A65D-8626AEA2DB8C}"/>
                </a:ext>
              </a:extLst>
            </p:cNvPr>
            <p:cNvCxnSpPr/>
            <p:nvPr userDrawn="1"/>
          </p:nvCxnSpPr>
          <p:spPr>
            <a:xfrm>
              <a:off x="9012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Gerader Verbinder 202" hidden="1">
              <a:extLst>
                <a:ext uri="{FF2B5EF4-FFF2-40B4-BE49-F238E27FC236}">
                  <a16:creationId xmlns:a16="http://schemas.microsoft.com/office/drawing/2014/main" id="{F073F532-5D93-4966-A279-E3EE83DD8E43}"/>
                </a:ext>
              </a:extLst>
            </p:cNvPr>
            <p:cNvCxnSpPr/>
            <p:nvPr userDrawn="1"/>
          </p:nvCxnSpPr>
          <p:spPr>
            <a:xfrm>
              <a:off x="10956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r Verbinder 203" hidden="1">
              <a:extLst>
                <a:ext uri="{FF2B5EF4-FFF2-40B4-BE49-F238E27FC236}">
                  <a16:creationId xmlns:a16="http://schemas.microsoft.com/office/drawing/2014/main" id="{0370F5B8-950E-47DD-866D-FEB2E4D7CE3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3186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Gerader Verbinder 204" hidden="1">
              <a:extLst>
                <a:ext uri="{FF2B5EF4-FFF2-40B4-BE49-F238E27FC236}">
                  <a16:creationId xmlns:a16="http://schemas.microsoft.com/office/drawing/2014/main" id="{CA2326D1-1B6E-47EF-97D8-E7EBE84649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901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Gerader Verbinder 205" hidden="1">
              <a:extLst>
                <a:ext uri="{FF2B5EF4-FFF2-40B4-BE49-F238E27FC236}">
                  <a16:creationId xmlns:a16="http://schemas.microsoft.com/office/drawing/2014/main" id="{A02A5536-5811-4268-9DC2-CCD8B3C28D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1387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Gerader Verbinder 206" hidden="1">
              <a:extLst>
                <a:ext uri="{FF2B5EF4-FFF2-40B4-BE49-F238E27FC236}">
                  <a16:creationId xmlns:a16="http://schemas.microsoft.com/office/drawing/2014/main" id="{609E10FA-8C9B-47C8-8DE8-DB3B7050525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1387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Gerader Verbinder 207" hidden="1">
              <a:extLst>
                <a:ext uri="{FF2B5EF4-FFF2-40B4-BE49-F238E27FC236}">
                  <a16:creationId xmlns:a16="http://schemas.microsoft.com/office/drawing/2014/main" id="{091C513C-BED4-4E7D-BFC3-9EEF1DCF093C}"/>
                </a:ext>
              </a:extLst>
            </p:cNvPr>
            <p:cNvCxnSpPr/>
            <p:nvPr userDrawn="1"/>
          </p:nvCxnSpPr>
          <p:spPr>
            <a:xfrm>
              <a:off x="-275999" y="1971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Gerader Verbinder 208" hidden="1">
              <a:extLst>
                <a:ext uri="{FF2B5EF4-FFF2-40B4-BE49-F238E27FC236}">
                  <a16:creationId xmlns:a16="http://schemas.microsoft.com/office/drawing/2014/main" id="{718DD067-6D4D-4F12-9B96-59EA3A3B8583}"/>
                </a:ext>
              </a:extLst>
            </p:cNvPr>
            <p:cNvCxnSpPr/>
            <p:nvPr userDrawn="1"/>
          </p:nvCxnSpPr>
          <p:spPr>
            <a:xfrm>
              <a:off x="-275999" y="2359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Gerader Verbinder 209" hidden="1">
              <a:extLst>
                <a:ext uri="{FF2B5EF4-FFF2-40B4-BE49-F238E27FC236}">
                  <a16:creationId xmlns:a16="http://schemas.microsoft.com/office/drawing/2014/main" id="{7EBF0016-2888-4D47-A0F7-0CA6CB724B7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2943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Gerader Verbinder 210" hidden="1">
              <a:extLst>
                <a:ext uri="{FF2B5EF4-FFF2-40B4-BE49-F238E27FC236}">
                  <a16:creationId xmlns:a16="http://schemas.microsoft.com/office/drawing/2014/main" id="{A62A6540-DE9B-4577-8388-38EB85E43AA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3331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Gerader Verbinder 211" hidden="1">
              <a:extLst>
                <a:ext uri="{FF2B5EF4-FFF2-40B4-BE49-F238E27FC236}">
                  <a16:creationId xmlns:a16="http://schemas.microsoft.com/office/drawing/2014/main" id="{E789BE1A-34B3-4B25-898D-39C58778FBE5}"/>
                </a:ext>
              </a:extLst>
            </p:cNvPr>
            <p:cNvCxnSpPr/>
            <p:nvPr userDrawn="1"/>
          </p:nvCxnSpPr>
          <p:spPr>
            <a:xfrm>
              <a:off x="-275999" y="3915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Gerader Verbinder 212" hidden="1">
              <a:extLst>
                <a:ext uri="{FF2B5EF4-FFF2-40B4-BE49-F238E27FC236}">
                  <a16:creationId xmlns:a16="http://schemas.microsoft.com/office/drawing/2014/main" id="{D5390D5A-AC4B-4690-BFA5-71DF6BF85C1E}"/>
                </a:ext>
              </a:extLst>
            </p:cNvPr>
            <p:cNvCxnSpPr/>
            <p:nvPr userDrawn="1"/>
          </p:nvCxnSpPr>
          <p:spPr>
            <a:xfrm>
              <a:off x="-275999" y="4303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Gerader Verbinder 213" hidden="1">
              <a:extLst>
                <a:ext uri="{FF2B5EF4-FFF2-40B4-BE49-F238E27FC236}">
                  <a16:creationId xmlns:a16="http://schemas.microsoft.com/office/drawing/2014/main" id="{3ABD3FE9-6838-4B04-8915-86A6E9EECBF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4887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Gerader Verbinder 214" hidden="1">
              <a:extLst>
                <a:ext uri="{FF2B5EF4-FFF2-40B4-BE49-F238E27FC236}">
                  <a16:creationId xmlns:a16="http://schemas.microsoft.com/office/drawing/2014/main" id="{22A32F67-D0B1-430C-8587-0283C50CAFA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5275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r Verbinder 215" hidden="1">
              <a:extLst>
                <a:ext uri="{FF2B5EF4-FFF2-40B4-BE49-F238E27FC236}">
                  <a16:creationId xmlns:a16="http://schemas.microsoft.com/office/drawing/2014/main" id="{8F351BDF-12EA-41DB-8379-6C36D42DEF91}"/>
                </a:ext>
              </a:extLst>
            </p:cNvPr>
            <p:cNvCxnSpPr/>
            <p:nvPr userDrawn="1"/>
          </p:nvCxnSpPr>
          <p:spPr>
            <a:xfrm>
              <a:off x="-275999" y="5859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r Verbinder 216" hidden="1">
              <a:extLst>
                <a:ext uri="{FF2B5EF4-FFF2-40B4-BE49-F238E27FC236}">
                  <a16:creationId xmlns:a16="http://schemas.microsoft.com/office/drawing/2014/main" id="{2CCBA1D8-4C7D-430C-810B-F9DAC99F3BCF}"/>
                </a:ext>
              </a:extLst>
            </p:cNvPr>
            <p:cNvCxnSpPr/>
            <p:nvPr userDrawn="1"/>
          </p:nvCxnSpPr>
          <p:spPr>
            <a:xfrm>
              <a:off x="-275999" y="6247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r Verbinder 217" hidden="1">
              <a:extLst>
                <a:ext uri="{FF2B5EF4-FFF2-40B4-BE49-F238E27FC236}">
                  <a16:creationId xmlns:a16="http://schemas.microsoft.com/office/drawing/2014/main" id="{641EA8D2-6953-48C6-B258-649D3B3FCC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6831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Gerader Verbinder 218" hidden="1">
              <a:extLst>
                <a:ext uri="{FF2B5EF4-FFF2-40B4-BE49-F238E27FC236}">
                  <a16:creationId xmlns:a16="http://schemas.microsoft.com/office/drawing/2014/main" id="{FE51091D-0978-45A2-8B29-7B11D4602B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2165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Gerader Verbinder 219" hidden="1">
              <a:extLst>
                <a:ext uri="{FF2B5EF4-FFF2-40B4-BE49-F238E27FC236}">
                  <a16:creationId xmlns:a16="http://schemas.microsoft.com/office/drawing/2014/main" id="{2B5D0251-B516-4431-8F31-40FA93A333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4109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Gerader Verbinder 220" hidden="1">
              <a:extLst>
                <a:ext uri="{FF2B5EF4-FFF2-40B4-BE49-F238E27FC236}">
                  <a16:creationId xmlns:a16="http://schemas.microsoft.com/office/drawing/2014/main" id="{10F68145-40EF-4477-A9B8-BCFBB69822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6053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Gerader Verbinder 221" hidden="1">
              <a:extLst>
                <a:ext uri="{FF2B5EF4-FFF2-40B4-BE49-F238E27FC236}">
                  <a16:creationId xmlns:a16="http://schemas.microsoft.com/office/drawing/2014/main" id="{6A119157-78A0-4DD2-BA5D-466645F72E7C}"/>
                </a:ext>
              </a:extLst>
            </p:cNvPr>
            <p:cNvCxnSpPr/>
            <p:nvPr userDrawn="1"/>
          </p:nvCxnSpPr>
          <p:spPr>
            <a:xfrm>
              <a:off x="-275999" y="64422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Gerader Verbinder 222" hidden="1">
              <a:extLst>
                <a:ext uri="{FF2B5EF4-FFF2-40B4-BE49-F238E27FC236}">
                  <a16:creationId xmlns:a16="http://schemas.microsoft.com/office/drawing/2014/main" id="{5DA00372-A728-4F01-AA19-0C7297019D30}"/>
                </a:ext>
              </a:extLst>
            </p:cNvPr>
            <p:cNvCxnSpPr/>
            <p:nvPr userDrawn="1"/>
          </p:nvCxnSpPr>
          <p:spPr>
            <a:xfrm>
              <a:off x="-247199" y="67338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r Verbinder 223" hidden="1">
              <a:extLst>
                <a:ext uri="{FF2B5EF4-FFF2-40B4-BE49-F238E27FC236}">
                  <a16:creationId xmlns:a16="http://schemas.microsoft.com/office/drawing/2014/main" id="{206ABB9D-4CE1-4EEC-B494-D61BF722DFE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41094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r Verbinder 224" hidden="1">
              <a:extLst>
                <a:ext uri="{FF2B5EF4-FFF2-40B4-BE49-F238E27FC236}">
                  <a16:creationId xmlns:a16="http://schemas.microsoft.com/office/drawing/2014/main" id="{098F197A-A85D-4155-B390-D93D2DDC433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6831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Gerader Verbinder 225" hidden="1">
              <a:extLst>
                <a:ext uri="{FF2B5EF4-FFF2-40B4-BE49-F238E27FC236}">
                  <a16:creationId xmlns:a16="http://schemas.microsoft.com/office/drawing/2014/main" id="{1A34EC06-B4FC-4057-88E6-61FC9FC5F688}"/>
                </a:ext>
              </a:extLst>
            </p:cNvPr>
            <p:cNvCxnSpPr/>
            <p:nvPr userDrawn="1"/>
          </p:nvCxnSpPr>
          <p:spPr>
            <a:xfrm>
              <a:off x="4584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Gerader Verbinder 226" hidden="1">
              <a:extLst>
                <a:ext uri="{FF2B5EF4-FFF2-40B4-BE49-F238E27FC236}">
                  <a16:creationId xmlns:a16="http://schemas.microsoft.com/office/drawing/2014/main" id="{57A91372-B8CF-4DF7-AF20-4E4128C83A9D}"/>
                </a:ext>
              </a:extLst>
            </p:cNvPr>
            <p:cNvCxnSpPr/>
            <p:nvPr userDrawn="1"/>
          </p:nvCxnSpPr>
          <p:spPr>
            <a:xfrm>
              <a:off x="27912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Gerader Verbinder 227" hidden="1">
              <a:extLst>
                <a:ext uri="{FF2B5EF4-FFF2-40B4-BE49-F238E27FC236}">
                  <a16:creationId xmlns:a16="http://schemas.microsoft.com/office/drawing/2014/main" id="{079730F2-B7CD-4706-ADBB-54CA70A4DC64}"/>
                </a:ext>
              </a:extLst>
            </p:cNvPr>
            <p:cNvCxnSpPr/>
            <p:nvPr userDrawn="1"/>
          </p:nvCxnSpPr>
          <p:spPr>
            <a:xfrm>
              <a:off x="51240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Gerader Verbinder 228" hidden="1">
              <a:extLst>
                <a:ext uri="{FF2B5EF4-FFF2-40B4-BE49-F238E27FC236}">
                  <a16:creationId xmlns:a16="http://schemas.microsoft.com/office/drawing/2014/main" id="{13D76BF3-998F-4051-A925-4240DEE803D0}"/>
                </a:ext>
              </a:extLst>
            </p:cNvPr>
            <p:cNvCxnSpPr/>
            <p:nvPr userDrawn="1"/>
          </p:nvCxnSpPr>
          <p:spPr>
            <a:xfrm>
              <a:off x="74568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r Verbinder 229" hidden="1">
              <a:extLst>
                <a:ext uri="{FF2B5EF4-FFF2-40B4-BE49-F238E27FC236}">
                  <a16:creationId xmlns:a16="http://schemas.microsoft.com/office/drawing/2014/main" id="{CE1C37E8-8A1D-4910-92F3-1D6987E8E689}"/>
                </a:ext>
              </a:extLst>
            </p:cNvPr>
            <p:cNvCxnSpPr/>
            <p:nvPr userDrawn="1"/>
          </p:nvCxnSpPr>
          <p:spPr>
            <a:xfrm>
              <a:off x="97896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Gerader Verbinder 230" hidden="1">
              <a:extLst>
                <a:ext uri="{FF2B5EF4-FFF2-40B4-BE49-F238E27FC236}">
                  <a16:creationId xmlns:a16="http://schemas.microsoft.com/office/drawing/2014/main" id="{4FE32AA2-1987-49A5-A92D-A07051D43982}"/>
                </a:ext>
              </a:extLst>
            </p:cNvPr>
            <p:cNvCxnSpPr/>
            <p:nvPr userDrawn="1"/>
          </p:nvCxnSpPr>
          <p:spPr>
            <a:xfrm>
              <a:off x="117336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Gerader Verbinder 231" hidden="1">
              <a:extLst>
                <a:ext uri="{FF2B5EF4-FFF2-40B4-BE49-F238E27FC236}">
                  <a16:creationId xmlns:a16="http://schemas.microsoft.com/office/drawing/2014/main" id="{F8D51324-936A-41A3-9E3B-410300CA29B0}"/>
                </a:ext>
              </a:extLst>
            </p:cNvPr>
            <p:cNvCxnSpPr/>
            <p:nvPr userDrawn="1"/>
          </p:nvCxnSpPr>
          <p:spPr>
            <a:xfrm>
              <a:off x="94008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Gerader Verbinder 232" hidden="1">
              <a:extLst>
                <a:ext uri="{FF2B5EF4-FFF2-40B4-BE49-F238E27FC236}">
                  <a16:creationId xmlns:a16="http://schemas.microsoft.com/office/drawing/2014/main" id="{562D6437-0DCD-4B1F-A0BB-28C4C3A81076}"/>
                </a:ext>
              </a:extLst>
            </p:cNvPr>
            <p:cNvCxnSpPr/>
            <p:nvPr userDrawn="1"/>
          </p:nvCxnSpPr>
          <p:spPr>
            <a:xfrm>
              <a:off x="70680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Gerader Verbinder 233" hidden="1">
              <a:extLst>
                <a:ext uri="{FF2B5EF4-FFF2-40B4-BE49-F238E27FC236}">
                  <a16:creationId xmlns:a16="http://schemas.microsoft.com/office/drawing/2014/main" id="{924C55E9-58FA-4729-B9BB-4A24BB2C1DD8}"/>
                </a:ext>
              </a:extLst>
            </p:cNvPr>
            <p:cNvCxnSpPr/>
            <p:nvPr userDrawn="1"/>
          </p:nvCxnSpPr>
          <p:spPr>
            <a:xfrm>
              <a:off x="47352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Gerader Verbinder 234" hidden="1">
              <a:extLst>
                <a:ext uri="{FF2B5EF4-FFF2-40B4-BE49-F238E27FC236}">
                  <a16:creationId xmlns:a16="http://schemas.microsoft.com/office/drawing/2014/main" id="{A55BED26-F2F8-4A22-8BB7-DBE68DB55ED0}"/>
                </a:ext>
              </a:extLst>
            </p:cNvPr>
            <p:cNvCxnSpPr/>
            <p:nvPr userDrawn="1"/>
          </p:nvCxnSpPr>
          <p:spPr>
            <a:xfrm>
              <a:off x="24024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Gerader Verbinder 235" hidden="1">
              <a:extLst>
                <a:ext uri="{FF2B5EF4-FFF2-40B4-BE49-F238E27FC236}">
                  <a16:creationId xmlns:a16="http://schemas.microsoft.com/office/drawing/2014/main" id="{39677643-CFFC-4C13-AFF4-5CDDB38A3C2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66366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9" name="Masterfeld_Hilfslinien DE" hidden="1">
            <a:extLst>
              <a:ext uri="{FF2B5EF4-FFF2-40B4-BE49-F238E27FC236}">
                <a16:creationId xmlns:a16="http://schemas.microsoft.com/office/drawing/2014/main" id="{307D8EA7-115C-4D1C-BBF7-B84BA8EC39E9}"/>
              </a:ext>
            </a:extLst>
          </p:cNvPr>
          <p:cNvGrpSpPr/>
          <p:nvPr userDrawn="1">
            <p:custDataLst>
              <p:tags r:id="rId32"/>
            </p:custDataLst>
          </p:nvPr>
        </p:nvGrpSpPr>
        <p:grpSpPr>
          <a:xfrm>
            <a:off x="69600" y="124200"/>
            <a:ext cx="12052800" cy="6636600"/>
            <a:chOff x="69600" y="124200"/>
            <a:chExt cx="12052800" cy="6636600"/>
          </a:xfrm>
        </p:grpSpPr>
        <p:cxnSp>
          <p:nvCxnSpPr>
            <p:cNvPr id="239" name="Gerader Verbinder 238" hidden="1">
              <a:extLst>
                <a:ext uri="{FF2B5EF4-FFF2-40B4-BE49-F238E27FC236}">
                  <a16:creationId xmlns:a16="http://schemas.microsoft.com/office/drawing/2014/main" id="{46047118-8893-44A8-AC01-179E979A6D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r Verbinder 239" hidden="1">
              <a:extLst>
                <a:ext uri="{FF2B5EF4-FFF2-40B4-BE49-F238E27FC236}">
                  <a16:creationId xmlns:a16="http://schemas.microsoft.com/office/drawing/2014/main" id="{5992CC89-1A21-4D68-9793-A5E4D91D71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02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r Verbinder 240" hidden="1">
              <a:extLst>
                <a:ext uri="{FF2B5EF4-FFF2-40B4-BE49-F238E27FC236}">
                  <a16:creationId xmlns:a16="http://schemas.microsoft.com/office/drawing/2014/main" id="{B91F3492-52EC-4A51-A7A9-797498E071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46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r Verbinder 241" hidden="1">
              <a:extLst>
                <a:ext uri="{FF2B5EF4-FFF2-40B4-BE49-F238E27FC236}">
                  <a16:creationId xmlns:a16="http://schemas.microsoft.com/office/drawing/2014/main" id="{76182B68-AE2B-42AB-A692-62E7279AD0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90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r Verbinder 242" hidden="1">
              <a:extLst>
                <a:ext uri="{FF2B5EF4-FFF2-40B4-BE49-F238E27FC236}">
                  <a16:creationId xmlns:a16="http://schemas.microsoft.com/office/drawing/2014/main" id="{8EB5A0F3-7B2F-4E49-88DE-73A2989CB3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34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r Verbinder 243" hidden="1">
              <a:extLst>
                <a:ext uri="{FF2B5EF4-FFF2-40B4-BE49-F238E27FC236}">
                  <a16:creationId xmlns:a16="http://schemas.microsoft.com/office/drawing/2014/main" id="{A0180DC6-8D0A-4D5A-9264-F4436BFF7D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7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r Verbinder 244" hidden="1">
              <a:extLst>
                <a:ext uri="{FF2B5EF4-FFF2-40B4-BE49-F238E27FC236}">
                  <a16:creationId xmlns:a16="http://schemas.microsoft.com/office/drawing/2014/main" id="{5A55946F-31E6-4043-B827-C77B82DEE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3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r Verbinder 245" hidden="1">
              <a:extLst>
                <a:ext uri="{FF2B5EF4-FFF2-40B4-BE49-F238E27FC236}">
                  <a16:creationId xmlns:a16="http://schemas.microsoft.com/office/drawing/2014/main" id="{AD621232-EFB4-4733-A60F-5934D2D7A5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89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r Verbinder 246" hidden="1">
              <a:extLst>
                <a:ext uri="{FF2B5EF4-FFF2-40B4-BE49-F238E27FC236}">
                  <a16:creationId xmlns:a16="http://schemas.microsoft.com/office/drawing/2014/main" id="{8C71F772-78C6-4417-B287-C2FCA591AD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45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r Verbinder 247" hidden="1">
              <a:extLst>
                <a:ext uri="{FF2B5EF4-FFF2-40B4-BE49-F238E27FC236}">
                  <a16:creationId xmlns:a16="http://schemas.microsoft.com/office/drawing/2014/main" id="{DDF8009F-7AD8-475F-9822-A452261735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01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r Verbinder 248" hidden="1">
              <a:extLst>
                <a:ext uri="{FF2B5EF4-FFF2-40B4-BE49-F238E27FC236}">
                  <a16:creationId xmlns:a16="http://schemas.microsoft.com/office/drawing/2014/main" id="{76E180EE-A04A-4C64-85DA-1CBE16A17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957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r Verbinder 249" hidden="1">
              <a:extLst>
                <a:ext uri="{FF2B5EF4-FFF2-40B4-BE49-F238E27FC236}">
                  <a16:creationId xmlns:a16="http://schemas.microsoft.com/office/drawing/2014/main" id="{9B7187F6-B2BE-4412-9BED-06CDDD5F53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1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r Verbinder 250" hidden="1">
              <a:extLst>
                <a:ext uri="{FF2B5EF4-FFF2-40B4-BE49-F238E27FC236}">
                  <a16:creationId xmlns:a16="http://schemas.microsoft.com/office/drawing/2014/main" id="{FC6F24F3-59D5-4D99-82EA-0BC7EA93B7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186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r Verbinder 251" hidden="1">
              <a:extLst>
                <a:ext uri="{FF2B5EF4-FFF2-40B4-BE49-F238E27FC236}">
                  <a16:creationId xmlns:a16="http://schemas.microsoft.com/office/drawing/2014/main" id="{528B5283-BD87-4265-93A8-513BAEB5DE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90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r Verbinder 252" hidden="1">
              <a:extLst>
                <a:ext uri="{FF2B5EF4-FFF2-40B4-BE49-F238E27FC236}">
                  <a16:creationId xmlns:a16="http://schemas.microsoft.com/office/drawing/2014/main" id="{3840FF58-1CB7-4B9F-9D37-66336039EA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r Verbinder 253" hidden="1">
              <a:extLst>
                <a:ext uri="{FF2B5EF4-FFF2-40B4-BE49-F238E27FC236}">
                  <a16:creationId xmlns:a16="http://schemas.microsoft.com/office/drawing/2014/main" id="{C8C44AF8-ADE8-480B-93F2-17A674BB3C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2943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r Verbinder 256" hidden="1">
              <a:extLst>
                <a:ext uri="{FF2B5EF4-FFF2-40B4-BE49-F238E27FC236}">
                  <a16:creationId xmlns:a16="http://schemas.microsoft.com/office/drawing/2014/main" id="{9B1CE800-8D7A-483D-867E-7ABFD916E6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r Verbinder 257" hidden="1">
              <a:extLst>
                <a:ext uri="{FF2B5EF4-FFF2-40B4-BE49-F238E27FC236}">
                  <a16:creationId xmlns:a16="http://schemas.microsoft.com/office/drawing/2014/main" id="{93D7C9FE-1F74-4C1E-B7A6-798ADA7BF6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64422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r Verbinder 267" hidden="1">
              <a:extLst>
                <a:ext uri="{FF2B5EF4-FFF2-40B4-BE49-F238E27FC236}">
                  <a16:creationId xmlns:a16="http://schemas.microsoft.com/office/drawing/2014/main" id="{AAAE296B-FE46-4D02-869E-874E705200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Gerader Verbinder 335" hidden="1">
              <a:extLst>
                <a:ext uri="{FF2B5EF4-FFF2-40B4-BE49-F238E27FC236}">
                  <a16:creationId xmlns:a16="http://schemas.microsoft.com/office/drawing/2014/main" id="{CED59C13-87D3-428A-A942-8D7FB41C9C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4887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Masterfeld_Hilfsmarkierungen DE" hidden="1">
            <a:extLst>
              <a:ext uri="{FF2B5EF4-FFF2-40B4-BE49-F238E27FC236}">
                <a16:creationId xmlns:a16="http://schemas.microsoft.com/office/drawing/2014/main" id="{846349B0-22AB-4F08-8B32-50C2B4967827}"/>
              </a:ext>
            </a:extLst>
          </p:cNvPr>
          <p:cNvGrpSpPr/>
          <p:nvPr userDrawn="1">
            <p:custDataLst>
              <p:tags r:id="rId33"/>
            </p:custDataLst>
          </p:nvPr>
        </p:nvGrpSpPr>
        <p:grpSpPr>
          <a:xfrm>
            <a:off x="-513600" y="-264600"/>
            <a:ext cx="12927600" cy="7387200"/>
            <a:chOff x="-513600" y="-264600"/>
            <a:chExt cx="12927600" cy="7387200"/>
          </a:xfrm>
        </p:grpSpPr>
        <p:cxnSp>
          <p:nvCxnSpPr>
            <p:cNvPr id="8" name="Gerader Verbinder 7" hidden="1">
              <a:extLst>
                <a:ext uri="{FF2B5EF4-FFF2-40B4-BE49-F238E27FC236}">
                  <a16:creationId xmlns:a16="http://schemas.microsoft.com/office/drawing/2014/main" id="{FF16C5B0-8F30-46A0-AC8A-0AB89BE94BE7}"/>
                </a:ext>
              </a:extLst>
            </p:cNvPr>
            <p:cNvCxnSpPr/>
            <p:nvPr userDrawn="1"/>
          </p:nvCxnSpPr>
          <p:spPr>
            <a:xfrm>
              <a:off x="458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 hidden="1">
              <a:extLst>
                <a:ext uri="{FF2B5EF4-FFF2-40B4-BE49-F238E27FC236}">
                  <a16:creationId xmlns:a16="http://schemas.microsoft.com/office/drawing/2014/main" id="{964B5DB0-C842-4F81-B4A8-4DA32E897533}"/>
                </a:ext>
              </a:extLst>
            </p:cNvPr>
            <p:cNvCxnSpPr/>
            <p:nvPr userDrawn="1"/>
          </p:nvCxnSpPr>
          <p:spPr>
            <a:xfrm>
              <a:off x="1041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 hidden="1">
              <a:extLst>
                <a:ext uri="{FF2B5EF4-FFF2-40B4-BE49-F238E27FC236}">
                  <a16:creationId xmlns:a16="http://schemas.microsoft.com/office/drawing/2014/main" id="{81994A61-C090-4E9B-9A8C-378E186001C7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B756CC88-AAB4-4122-86A3-F02D2F83A904}"/>
                </a:ext>
              </a:extLst>
            </p:cNvPr>
            <p:cNvCxnSpPr/>
            <p:nvPr userDrawn="1"/>
          </p:nvCxnSpPr>
          <p:spPr>
            <a:xfrm>
              <a:off x="1430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CFC03B87-D802-4B36-AD8E-2CEE7AFD89FF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643F2B8E-2150-4279-B439-BC9E0C429291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3DEABF32-A180-49B9-8676-4260EC6D330E}"/>
                </a:ext>
              </a:extLst>
            </p:cNvPr>
            <p:cNvCxnSpPr/>
            <p:nvPr userDrawn="1"/>
          </p:nvCxnSpPr>
          <p:spPr>
            <a:xfrm>
              <a:off x="2402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 hidden="1">
              <a:extLst>
                <a:ext uri="{FF2B5EF4-FFF2-40B4-BE49-F238E27FC236}">
                  <a16:creationId xmlns:a16="http://schemas.microsoft.com/office/drawing/2014/main" id="{C015A03A-EB96-49C8-AB63-A4B788B6E372}"/>
                </a:ext>
              </a:extLst>
            </p:cNvPr>
            <p:cNvCxnSpPr/>
            <p:nvPr userDrawn="1"/>
          </p:nvCxnSpPr>
          <p:spPr>
            <a:xfrm>
              <a:off x="2985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 hidden="1">
              <a:extLst>
                <a:ext uri="{FF2B5EF4-FFF2-40B4-BE49-F238E27FC236}">
                  <a16:creationId xmlns:a16="http://schemas.microsoft.com/office/drawing/2014/main" id="{E6287E54-B610-4100-B424-D0A93F1C8D0D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 hidden="1">
              <a:extLst>
                <a:ext uri="{FF2B5EF4-FFF2-40B4-BE49-F238E27FC236}">
                  <a16:creationId xmlns:a16="http://schemas.microsoft.com/office/drawing/2014/main" id="{8044D0E6-CB15-4045-8C15-D3E3DFDF69DA}"/>
                </a:ext>
              </a:extLst>
            </p:cNvPr>
            <p:cNvCxnSpPr/>
            <p:nvPr userDrawn="1"/>
          </p:nvCxnSpPr>
          <p:spPr>
            <a:xfrm>
              <a:off x="3374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 hidden="1">
              <a:extLst>
                <a:ext uri="{FF2B5EF4-FFF2-40B4-BE49-F238E27FC236}">
                  <a16:creationId xmlns:a16="http://schemas.microsoft.com/office/drawing/2014/main" id="{AEA87CDF-63B6-4E34-AA42-DC3D954E44CE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 hidden="1">
              <a:extLst>
                <a:ext uri="{FF2B5EF4-FFF2-40B4-BE49-F238E27FC236}">
                  <a16:creationId xmlns:a16="http://schemas.microsoft.com/office/drawing/2014/main" id="{1B80E3DE-93C5-4751-A551-68728725EFCF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 hidden="1">
              <a:extLst>
                <a:ext uri="{FF2B5EF4-FFF2-40B4-BE49-F238E27FC236}">
                  <a16:creationId xmlns:a16="http://schemas.microsoft.com/office/drawing/2014/main" id="{E46B3950-0AA8-4116-AB00-A9F0FC645C2E}"/>
                </a:ext>
              </a:extLst>
            </p:cNvPr>
            <p:cNvCxnSpPr/>
            <p:nvPr userDrawn="1"/>
          </p:nvCxnSpPr>
          <p:spPr>
            <a:xfrm>
              <a:off x="4346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 hidden="1">
              <a:extLst>
                <a:ext uri="{FF2B5EF4-FFF2-40B4-BE49-F238E27FC236}">
                  <a16:creationId xmlns:a16="http://schemas.microsoft.com/office/drawing/2014/main" id="{CE268F57-869B-423E-AC6D-C8883CEF9B21}"/>
                </a:ext>
              </a:extLst>
            </p:cNvPr>
            <p:cNvCxnSpPr/>
            <p:nvPr userDrawn="1"/>
          </p:nvCxnSpPr>
          <p:spPr>
            <a:xfrm>
              <a:off x="4929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 hidden="1">
              <a:extLst>
                <a:ext uri="{FF2B5EF4-FFF2-40B4-BE49-F238E27FC236}">
                  <a16:creationId xmlns:a16="http://schemas.microsoft.com/office/drawing/2014/main" id="{7055B86E-A17B-4893-9150-EB4E5CA3B24C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 hidden="1">
              <a:extLst>
                <a:ext uri="{FF2B5EF4-FFF2-40B4-BE49-F238E27FC236}">
                  <a16:creationId xmlns:a16="http://schemas.microsoft.com/office/drawing/2014/main" id="{D1AE9672-3BA9-40BC-B7F5-AC6BE4C64FAD}"/>
                </a:ext>
              </a:extLst>
            </p:cNvPr>
            <p:cNvCxnSpPr/>
            <p:nvPr userDrawn="1"/>
          </p:nvCxnSpPr>
          <p:spPr>
            <a:xfrm>
              <a:off x="5318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 hidden="1">
              <a:extLst>
                <a:ext uri="{FF2B5EF4-FFF2-40B4-BE49-F238E27FC236}">
                  <a16:creationId xmlns:a16="http://schemas.microsoft.com/office/drawing/2014/main" id="{6E448D7B-CC07-4E47-9C86-1765DC261ADB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 hidden="1">
              <a:extLst>
                <a:ext uri="{FF2B5EF4-FFF2-40B4-BE49-F238E27FC236}">
                  <a16:creationId xmlns:a16="http://schemas.microsoft.com/office/drawing/2014/main" id="{9C8A841E-F355-4E31-9A71-3D5FE2B3D5AF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 hidden="1">
              <a:extLst>
                <a:ext uri="{FF2B5EF4-FFF2-40B4-BE49-F238E27FC236}">
                  <a16:creationId xmlns:a16="http://schemas.microsoft.com/office/drawing/2014/main" id="{69B4811C-1AA9-46B9-8524-E9522A17AFB7}"/>
                </a:ext>
              </a:extLst>
            </p:cNvPr>
            <p:cNvCxnSpPr/>
            <p:nvPr userDrawn="1"/>
          </p:nvCxnSpPr>
          <p:spPr>
            <a:xfrm>
              <a:off x="6290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 hidden="1">
              <a:extLst>
                <a:ext uri="{FF2B5EF4-FFF2-40B4-BE49-F238E27FC236}">
                  <a16:creationId xmlns:a16="http://schemas.microsoft.com/office/drawing/2014/main" id="{9D6C41F4-6DE8-4633-B9F9-CAF2825FEF24}"/>
                </a:ext>
              </a:extLst>
            </p:cNvPr>
            <p:cNvCxnSpPr/>
            <p:nvPr userDrawn="1"/>
          </p:nvCxnSpPr>
          <p:spPr>
            <a:xfrm>
              <a:off x="6873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 hidden="1">
              <a:extLst>
                <a:ext uri="{FF2B5EF4-FFF2-40B4-BE49-F238E27FC236}">
                  <a16:creationId xmlns:a16="http://schemas.microsoft.com/office/drawing/2014/main" id="{E99E0EA2-4070-43BB-A753-10B05EF1BE4C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 hidden="1">
              <a:extLst>
                <a:ext uri="{FF2B5EF4-FFF2-40B4-BE49-F238E27FC236}">
                  <a16:creationId xmlns:a16="http://schemas.microsoft.com/office/drawing/2014/main" id="{9B02E612-86D6-40E9-8C07-AA6609FF5011}"/>
                </a:ext>
              </a:extLst>
            </p:cNvPr>
            <p:cNvCxnSpPr/>
            <p:nvPr userDrawn="1"/>
          </p:nvCxnSpPr>
          <p:spPr>
            <a:xfrm>
              <a:off x="7262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 hidden="1">
              <a:extLst>
                <a:ext uri="{FF2B5EF4-FFF2-40B4-BE49-F238E27FC236}">
                  <a16:creationId xmlns:a16="http://schemas.microsoft.com/office/drawing/2014/main" id="{969B7019-55CC-44FD-8348-C155AC213653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 hidden="1">
              <a:extLst>
                <a:ext uri="{FF2B5EF4-FFF2-40B4-BE49-F238E27FC236}">
                  <a16:creationId xmlns:a16="http://schemas.microsoft.com/office/drawing/2014/main" id="{5DC0CDCF-DD6C-4E4A-98A2-05479CD2B617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 hidden="1">
              <a:extLst>
                <a:ext uri="{FF2B5EF4-FFF2-40B4-BE49-F238E27FC236}">
                  <a16:creationId xmlns:a16="http://schemas.microsoft.com/office/drawing/2014/main" id="{9955B781-BCF1-43E9-8966-9B6F3E5506B7}"/>
                </a:ext>
              </a:extLst>
            </p:cNvPr>
            <p:cNvCxnSpPr/>
            <p:nvPr userDrawn="1"/>
          </p:nvCxnSpPr>
          <p:spPr>
            <a:xfrm>
              <a:off x="8234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 hidden="1">
              <a:extLst>
                <a:ext uri="{FF2B5EF4-FFF2-40B4-BE49-F238E27FC236}">
                  <a16:creationId xmlns:a16="http://schemas.microsoft.com/office/drawing/2014/main" id="{6E4EC9AE-C08B-466C-9977-F48CF68E072D}"/>
                </a:ext>
              </a:extLst>
            </p:cNvPr>
            <p:cNvCxnSpPr/>
            <p:nvPr userDrawn="1"/>
          </p:nvCxnSpPr>
          <p:spPr>
            <a:xfrm>
              <a:off x="8817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 hidden="1">
              <a:extLst>
                <a:ext uri="{FF2B5EF4-FFF2-40B4-BE49-F238E27FC236}">
                  <a16:creationId xmlns:a16="http://schemas.microsoft.com/office/drawing/2014/main" id="{D7221E1A-66A9-4B1C-ADE8-0CEC93DA0B0C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 hidden="1">
              <a:extLst>
                <a:ext uri="{FF2B5EF4-FFF2-40B4-BE49-F238E27FC236}">
                  <a16:creationId xmlns:a16="http://schemas.microsoft.com/office/drawing/2014/main" id="{B6675E7C-A90C-4499-A858-AE4D5C6D75B3}"/>
                </a:ext>
              </a:extLst>
            </p:cNvPr>
            <p:cNvCxnSpPr/>
            <p:nvPr userDrawn="1"/>
          </p:nvCxnSpPr>
          <p:spPr>
            <a:xfrm>
              <a:off x="9206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 hidden="1">
              <a:extLst>
                <a:ext uri="{FF2B5EF4-FFF2-40B4-BE49-F238E27FC236}">
                  <a16:creationId xmlns:a16="http://schemas.microsoft.com/office/drawing/2014/main" id="{BF3C336C-B68B-4DE8-B752-6C94A660C57B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 hidden="1">
              <a:extLst>
                <a:ext uri="{FF2B5EF4-FFF2-40B4-BE49-F238E27FC236}">
                  <a16:creationId xmlns:a16="http://schemas.microsoft.com/office/drawing/2014/main" id="{E0598B98-7E31-442A-A758-C4F2D6B8832D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 hidden="1">
              <a:extLst>
                <a:ext uri="{FF2B5EF4-FFF2-40B4-BE49-F238E27FC236}">
                  <a16:creationId xmlns:a16="http://schemas.microsoft.com/office/drawing/2014/main" id="{29990A7E-7040-40A1-88B3-25EBC0BBFC65}"/>
                </a:ext>
              </a:extLst>
            </p:cNvPr>
            <p:cNvCxnSpPr/>
            <p:nvPr userDrawn="1"/>
          </p:nvCxnSpPr>
          <p:spPr>
            <a:xfrm>
              <a:off x="10178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 hidden="1">
              <a:extLst>
                <a:ext uri="{FF2B5EF4-FFF2-40B4-BE49-F238E27FC236}">
                  <a16:creationId xmlns:a16="http://schemas.microsoft.com/office/drawing/2014/main" id="{1ED1A5A3-ABC1-45A3-9695-8E9D8269985A}"/>
                </a:ext>
              </a:extLst>
            </p:cNvPr>
            <p:cNvCxnSpPr/>
            <p:nvPr userDrawn="1"/>
          </p:nvCxnSpPr>
          <p:spPr>
            <a:xfrm>
              <a:off x="10761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 hidden="1">
              <a:extLst>
                <a:ext uri="{FF2B5EF4-FFF2-40B4-BE49-F238E27FC236}">
                  <a16:creationId xmlns:a16="http://schemas.microsoft.com/office/drawing/2014/main" id="{C91BB4FA-B186-4E21-9498-F0A123BC23CE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 hidden="1">
              <a:extLst>
                <a:ext uri="{FF2B5EF4-FFF2-40B4-BE49-F238E27FC236}">
                  <a16:creationId xmlns:a16="http://schemas.microsoft.com/office/drawing/2014/main" id="{D36AF9AB-7A7D-4444-BCFA-B73ECB5BA3D9}"/>
                </a:ext>
              </a:extLst>
            </p:cNvPr>
            <p:cNvCxnSpPr/>
            <p:nvPr userDrawn="1"/>
          </p:nvCxnSpPr>
          <p:spPr>
            <a:xfrm>
              <a:off x="11150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 hidden="1">
              <a:extLst>
                <a:ext uri="{FF2B5EF4-FFF2-40B4-BE49-F238E27FC236}">
                  <a16:creationId xmlns:a16="http://schemas.microsoft.com/office/drawing/2014/main" id="{1E588DD7-1822-4359-896A-CCB5054F74A6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 hidden="1">
              <a:extLst>
                <a:ext uri="{FF2B5EF4-FFF2-40B4-BE49-F238E27FC236}">
                  <a16:creationId xmlns:a16="http://schemas.microsoft.com/office/drawing/2014/main" id="{E41E115F-4D04-4F7E-A883-8F215D661368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 hidden="1">
              <a:extLst>
                <a:ext uri="{FF2B5EF4-FFF2-40B4-BE49-F238E27FC236}">
                  <a16:creationId xmlns:a16="http://schemas.microsoft.com/office/drawing/2014/main" id="{D21FFCD8-D7EB-44DA-AA4A-69DEE2CD2A3C}"/>
                </a:ext>
              </a:extLst>
            </p:cNvPr>
            <p:cNvCxnSpPr/>
            <p:nvPr userDrawn="1"/>
          </p:nvCxnSpPr>
          <p:spPr>
            <a:xfrm>
              <a:off x="1236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 hidden="1">
              <a:extLst>
                <a:ext uri="{FF2B5EF4-FFF2-40B4-BE49-F238E27FC236}">
                  <a16:creationId xmlns:a16="http://schemas.microsoft.com/office/drawing/2014/main" id="{F05127D3-BED0-4B20-9545-BA76ECA0EF94}"/>
                </a:ext>
              </a:extLst>
            </p:cNvPr>
            <p:cNvCxnSpPr/>
            <p:nvPr userDrawn="1"/>
          </p:nvCxnSpPr>
          <p:spPr>
            <a:xfrm>
              <a:off x="3180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 hidden="1">
              <a:extLst>
                <a:ext uri="{FF2B5EF4-FFF2-40B4-BE49-F238E27FC236}">
                  <a16:creationId xmlns:a16="http://schemas.microsoft.com/office/drawing/2014/main" id="{DE57FE2B-166D-4CD7-875D-ECB00BD38B7E}"/>
                </a:ext>
              </a:extLst>
            </p:cNvPr>
            <p:cNvCxnSpPr/>
            <p:nvPr userDrawn="1"/>
          </p:nvCxnSpPr>
          <p:spPr>
            <a:xfrm>
              <a:off x="5124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 hidden="1">
              <a:extLst>
                <a:ext uri="{FF2B5EF4-FFF2-40B4-BE49-F238E27FC236}">
                  <a16:creationId xmlns:a16="http://schemas.microsoft.com/office/drawing/2014/main" id="{1D0E3B90-A08A-4F8D-B740-AB7B9DF3855E}"/>
                </a:ext>
              </a:extLst>
            </p:cNvPr>
            <p:cNvCxnSpPr/>
            <p:nvPr userDrawn="1"/>
          </p:nvCxnSpPr>
          <p:spPr>
            <a:xfrm>
              <a:off x="7068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 hidden="1">
              <a:extLst>
                <a:ext uri="{FF2B5EF4-FFF2-40B4-BE49-F238E27FC236}">
                  <a16:creationId xmlns:a16="http://schemas.microsoft.com/office/drawing/2014/main" id="{8D73528F-E385-4614-9CCD-532577EEB745}"/>
                </a:ext>
              </a:extLst>
            </p:cNvPr>
            <p:cNvCxnSpPr/>
            <p:nvPr userDrawn="1"/>
          </p:nvCxnSpPr>
          <p:spPr>
            <a:xfrm>
              <a:off x="9012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 hidden="1">
              <a:extLst>
                <a:ext uri="{FF2B5EF4-FFF2-40B4-BE49-F238E27FC236}">
                  <a16:creationId xmlns:a16="http://schemas.microsoft.com/office/drawing/2014/main" id="{6DA73E2C-6A6E-4BFE-9077-0B1349AB26F8}"/>
                </a:ext>
              </a:extLst>
            </p:cNvPr>
            <p:cNvCxnSpPr/>
            <p:nvPr userDrawn="1"/>
          </p:nvCxnSpPr>
          <p:spPr>
            <a:xfrm>
              <a:off x="10956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 hidden="1">
              <a:extLst>
                <a:ext uri="{FF2B5EF4-FFF2-40B4-BE49-F238E27FC236}">
                  <a16:creationId xmlns:a16="http://schemas.microsoft.com/office/drawing/2014/main" id="{CB66D52F-DF2F-4E99-A863-30DD9A2B0E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318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 hidden="1">
              <a:extLst>
                <a:ext uri="{FF2B5EF4-FFF2-40B4-BE49-F238E27FC236}">
                  <a16:creationId xmlns:a16="http://schemas.microsoft.com/office/drawing/2014/main" id="{0D12DBFF-6DBE-4329-9927-1E4FB0D5493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901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 hidden="1">
              <a:extLst>
                <a:ext uri="{FF2B5EF4-FFF2-40B4-BE49-F238E27FC236}">
                  <a16:creationId xmlns:a16="http://schemas.microsoft.com/office/drawing/2014/main" id="{CC7C4472-EFA3-46D6-A6D0-B5F37A7E2D5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1387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 hidden="1">
              <a:extLst>
                <a:ext uri="{FF2B5EF4-FFF2-40B4-BE49-F238E27FC236}">
                  <a16:creationId xmlns:a16="http://schemas.microsoft.com/office/drawing/2014/main" id="{3FDE7D94-E342-465D-909C-9845F8880CA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1387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 hidden="1">
              <a:extLst>
                <a:ext uri="{FF2B5EF4-FFF2-40B4-BE49-F238E27FC236}">
                  <a16:creationId xmlns:a16="http://schemas.microsoft.com/office/drawing/2014/main" id="{434B4DD3-3D38-4520-A913-09BDC88193D0}"/>
                </a:ext>
              </a:extLst>
            </p:cNvPr>
            <p:cNvCxnSpPr/>
            <p:nvPr userDrawn="1"/>
          </p:nvCxnSpPr>
          <p:spPr>
            <a:xfrm>
              <a:off x="-276000" y="1971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 hidden="1">
              <a:extLst>
                <a:ext uri="{FF2B5EF4-FFF2-40B4-BE49-F238E27FC236}">
                  <a16:creationId xmlns:a16="http://schemas.microsoft.com/office/drawing/2014/main" id="{5CF4A037-9768-4455-9C7B-8783E6CAE297}"/>
                </a:ext>
              </a:extLst>
            </p:cNvPr>
            <p:cNvCxnSpPr/>
            <p:nvPr userDrawn="1"/>
          </p:nvCxnSpPr>
          <p:spPr>
            <a:xfrm>
              <a:off x="-276000" y="2359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 hidden="1">
              <a:extLst>
                <a:ext uri="{FF2B5EF4-FFF2-40B4-BE49-F238E27FC236}">
                  <a16:creationId xmlns:a16="http://schemas.microsoft.com/office/drawing/2014/main" id="{A5AF0393-1377-4E39-9854-6D1D46EEBE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 hidden="1">
              <a:extLst>
                <a:ext uri="{FF2B5EF4-FFF2-40B4-BE49-F238E27FC236}">
                  <a16:creationId xmlns:a16="http://schemas.microsoft.com/office/drawing/2014/main" id="{8F810320-D354-4B47-B096-C4F1C3A5D7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3331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 hidden="1">
              <a:extLst>
                <a:ext uri="{FF2B5EF4-FFF2-40B4-BE49-F238E27FC236}">
                  <a16:creationId xmlns:a16="http://schemas.microsoft.com/office/drawing/2014/main" id="{ABBE022B-DD24-4FCC-951A-A23ED34B2E9D}"/>
                </a:ext>
              </a:extLst>
            </p:cNvPr>
            <p:cNvCxnSpPr/>
            <p:nvPr userDrawn="1"/>
          </p:nvCxnSpPr>
          <p:spPr>
            <a:xfrm>
              <a:off x="-276000" y="3915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 hidden="1">
              <a:extLst>
                <a:ext uri="{FF2B5EF4-FFF2-40B4-BE49-F238E27FC236}">
                  <a16:creationId xmlns:a16="http://schemas.microsoft.com/office/drawing/2014/main" id="{518AE403-E6BA-4298-8785-2938A20B055E}"/>
                </a:ext>
              </a:extLst>
            </p:cNvPr>
            <p:cNvCxnSpPr/>
            <p:nvPr userDrawn="1"/>
          </p:nvCxnSpPr>
          <p:spPr>
            <a:xfrm>
              <a:off x="-276000" y="4303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 hidden="1">
              <a:extLst>
                <a:ext uri="{FF2B5EF4-FFF2-40B4-BE49-F238E27FC236}">
                  <a16:creationId xmlns:a16="http://schemas.microsoft.com/office/drawing/2014/main" id="{07BAA48B-6B20-4E6C-B2F8-10F0F52EEB3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4887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 hidden="1">
              <a:extLst>
                <a:ext uri="{FF2B5EF4-FFF2-40B4-BE49-F238E27FC236}">
                  <a16:creationId xmlns:a16="http://schemas.microsoft.com/office/drawing/2014/main" id="{6B07DAA5-15EF-44B3-B23E-2ED8086173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 hidden="1">
              <a:extLst>
                <a:ext uri="{FF2B5EF4-FFF2-40B4-BE49-F238E27FC236}">
                  <a16:creationId xmlns:a16="http://schemas.microsoft.com/office/drawing/2014/main" id="{EC5EB6A1-8DB0-475F-98A9-EE652BAF40D3}"/>
                </a:ext>
              </a:extLst>
            </p:cNvPr>
            <p:cNvCxnSpPr/>
            <p:nvPr userDrawn="1"/>
          </p:nvCxnSpPr>
          <p:spPr>
            <a:xfrm>
              <a:off x="-276000" y="5859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>
              <a:extLst>
                <a:ext uri="{FF2B5EF4-FFF2-40B4-BE49-F238E27FC236}">
                  <a16:creationId xmlns:a16="http://schemas.microsoft.com/office/drawing/2014/main" id="{1EFCE728-D858-4063-A7DF-BEE8925F5C29}"/>
                </a:ext>
              </a:extLst>
            </p:cNvPr>
            <p:cNvCxnSpPr/>
            <p:nvPr userDrawn="1"/>
          </p:nvCxnSpPr>
          <p:spPr>
            <a:xfrm>
              <a:off x="-276000" y="6247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>
              <a:extLst>
                <a:ext uri="{FF2B5EF4-FFF2-40B4-BE49-F238E27FC236}">
                  <a16:creationId xmlns:a16="http://schemas.microsoft.com/office/drawing/2014/main" id="{A67257CA-B47E-4F50-A0AA-574DADADAEB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6831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>
              <a:extLst>
                <a:ext uri="{FF2B5EF4-FFF2-40B4-BE49-F238E27FC236}">
                  <a16:creationId xmlns:a16="http://schemas.microsoft.com/office/drawing/2014/main" id="{8E29FD86-A24C-4644-98D8-AF7A678DA0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2165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>
              <a:extLst>
                <a:ext uri="{FF2B5EF4-FFF2-40B4-BE49-F238E27FC236}">
                  <a16:creationId xmlns:a16="http://schemas.microsoft.com/office/drawing/2014/main" id="{08EC4055-3E49-4ACC-8776-2F3B1F7E18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4109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>
              <a:extLst>
                <a:ext uri="{FF2B5EF4-FFF2-40B4-BE49-F238E27FC236}">
                  <a16:creationId xmlns:a16="http://schemas.microsoft.com/office/drawing/2014/main" id="{C2319598-A10D-407B-B692-C1760D6902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6053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>
              <a:extLst>
                <a:ext uri="{FF2B5EF4-FFF2-40B4-BE49-F238E27FC236}">
                  <a16:creationId xmlns:a16="http://schemas.microsoft.com/office/drawing/2014/main" id="{00696105-B72A-4737-89BF-579FF02F60E7}"/>
                </a:ext>
              </a:extLst>
            </p:cNvPr>
            <p:cNvCxnSpPr/>
            <p:nvPr userDrawn="1"/>
          </p:nvCxnSpPr>
          <p:spPr>
            <a:xfrm>
              <a:off x="-276000" y="64422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>
              <a:extLst>
                <a:ext uri="{FF2B5EF4-FFF2-40B4-BE49-F238E27FC236}">
                  <a16:creationId xmlns:a16="http://schemas.microsoft.com/office/drawing/2014/main" id="{8E298FB2-A1BB-4F47-B6ED-6FD9395B4BE5}"/>
                </a:ext>
              </a:extLst>
            </p:cNvPr>
            <p:cNvCxnSpPr/>
            <p:nvPr userDrawn="1"/>
          </p:nvCxnSpPr>
          <p:spPr>
            <a:xfrm>
              <a:off x="-247200" y="67338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>
              <a:extLst>
                <a:ext uri="{FF2B5EF4-FFF2-40B4-BE49-F238E27FC236}">
                  <a16:creationId xmlns:a16="http://schemas.microsoft.com/office/drawing/2014/main" id="{A669A67E-8078-4C3B-BA8E-B765C56225A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>
              <a:extLst>
                <a:ext uri="{FF2B5EF4-FFF2-40B4-BE49-F238E27FC236}">
                  <a16:creationId xmlns:a16="http://schemas.microsoft.com/office/drawing/2014/main" id="{E9607184-55E9-4D45-91BB-0823713AA6A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6831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>
              <a:extLst>
                <a:ext uri="{FF2B5EF4-FFF2-40B4-BE49-F238E27FC236}">
                  <a16:creationId xmlns:a16="http://schemas.microsoft.com/office/drawing/2014/main" id="{8FC231F3-E093-4EBF-8D98-49D8828F9199}"/>
                </a:ext>
              </a:extLst>
            </p:cNvPr>
            <p:cNvCxnSpPr/>
            <p:nvPr userDrawn="1"/>
          </p:nvCxnSpPr>
          <p:spPr>
            <a:xfrm>
              <a:off x="4584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>
              <a:extLst>
                <a:ext uri="{FF2B5EF4-FFF2-40B4-BE49-F238E27FC236}">
                  <a16:creationId xmlns:a16="http://schemas.microsoft.com/office/drawing/2014/main" id="{551DC6B6-82E2-4009-9157-124C78E8698B}"/>
                </a:ext>
              </a:extLst>
            </p:cNvPr>
            <p:cNvCxnSpPr/>
            <p:nvPr userDrawn="1"/>
          </p:nvCxnSpPr>
          <p:spPr>
            <a:xfrm>
              <a:off x="27912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>
              <a:extLst>
                <a:ext uri="{FF2B5EF4-FFF2-40B4-BE49-F238E27FC236}">
                  <a16:creationId xmlns:a16="http://schemas.microsoft.com/office/drawing/2014/main" id="{B49A3D3C-54B2-4D39-B77D-5DFD5292D70B}"/>
                </a:ext>
              </a:extLst>
            </p:cNvPr>
            <p:cNvCxnSpPr/>
            <p:nvPr userDrawn="1"/>
          </p:nvCxnSpPr>
          <p:spPr>
            <a:xfrm>
              <a:off x="51240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>
              <a:extLst>
                <a:ext uri="{FF2B5EF4-FFF2-40B4-BE49-F238E27FC236}">
                  <a16:creationId xmlns:a16="http://schemas.microsoft.com/office/drawing/2014/main" id="{D6C9BCF8-EC2F-418B-B972-4C9D9ACA18DF}"/>
                </a:ext>
              </a:extLst>
            </p:cNvPr>
            <p:cNvCxnSpPr/>
            <p:nvPr userDrawn="1"/>
          </p:nvCxnSpPr>
          <p:spPr>
            <a:xfrm>
              <a:off x="74568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>
              <a:extLst>
                <a:ext uri="{FF2B5EF4-FFF2-40B4-BE49-F238E27FC236}">
                  <a16:creationId xmlns:a16="http://schemas.microsoft.com/office/drawing/2014/main" id="{F49B1E23-A555-4510-B81F-89A1EADE1F52}"/>
                </a:ext>
              </a:extLst>
            </p:cNvPr>
            <p:cNvCxnSpPr/>
            <p:nvPr userDrawn="1"/>
          </p:nvCxnSpPr>
          <p:spPr>
            <a:xfrm>
              <a:off x="97896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>
              <a:extLst>
                <a:ext uri="{FF2B5EF4-FFF2-40B4-BE49-F238E27FC236}">
                  <a16:creationId xmlns:a16="http://schemas.microsoft.com/office/drawing/2014/main" id="{A03D0830-2039-42E7-AC32-3A2171B5B6B8}"/>
                </a:ext>
              </a:extLst>
            </p:cNvPr>
            <p:cNvCxnSpPr/>
            <p:nvPr userDrawn="1"/>
          </p:nvCxnSpPr>
          <p:spPr>
            <a:xfrm>
              <a:off x="117336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>
              <a:extLst>
                <a:ext uri="{FF2B5EF4-FFF2-40B4-BE49-F238E27FC236}">
                  <a16:creationId xmlns:a16="http://schemas.microsoft.com/office/drawing/2014/main" id="{725F9219-8822-4D18-9151-855D27670BBB}"/>
                </a:ext>
              </a:extLst>
            </p:cNvPr>
            <p:cNvCxnSpPr/>
            <p:nvPr userDrawn="1"/>
          </p:nvCxnSpPr>
          <p:spPr>
            <a:xfrm>
              <a:off x="94008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 hidden="1">
              <a:extLst>
                <a:ext uri="{FF2B5EF4-FFF2-40B4-BE49-F238E27FC236}">
                  <a16:creationId xmlns:a16="http://schemas.microsoft.com/office/drawing/2014/main" id="{09A8A872-C152-4027-A9DD-A774C5E5B827}"/>
                </a:ext>
              </a:extLst>
            </p:cNvPr>
            <p:cNvCxnSpPr/>
            <p:nvPr userDrawn="1"/>
          </p:nvCxnSpPr>
          <p:spPr>
            <a:xfrm>
              <a:off x="70680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 hidden="1">
              <a:extLst>
                <a:ext uri="{FF2B5EF4-FFF2-40B4-BE49-F238E27FC236}">
                  <a16:creationId xmlns:a16="http://schemas.microsoft.com/office/drawing/2014/main" id="{B175A82F-1E98-42A8-A9CE-47639CF466A3}"/>
                </a:ext>
              </a:extLst>
            </p:cNvPr>
            <p:cNvCxnSpPr/>
            <p:nvPr userDrawn="1"/>
          </p:nvCxnSpPr>
          <p:spPr>
            <a:xfrm>
              <a:off x="47352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 hidden="1">
              <a:extLst>
                <a:ext uri="{FF2B5EF4-FFF2-40B4-BE49-F238E27FC236}">
                  <a16:creationId xmlns:a16="http://schemas.microsoft.com/office/drawing/2014/main" id="{57638F6E-153C-4415-A426-AB963ABED384}"/>
                </a:ext>
              </a:extLst>
            </p:cNvPr>
            <p:cNvCxnSpPr/>
            <p:nvPr userDrawn="1"/>
          </p:nvCxnSpPr>
          <p:spPr>
            <a:xfrm>
              <a:off x="24024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 hidden="1">
              <a:extLst>
                <a:ext uri="{FF2B5EF4-FFF2-40B4-BE49-F238E27FC236}">
                  <a16:creationId xmlns:a16="http://schemas.microsoft.com/office/drawing/2014/main" id="{1FB8283F-BF95-439D-8D3D-FC9CF031602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663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Gerader Verbinder 292" hidden="1">
              <a:extLst>
                <a:ext uri="{FF2B5EF4-FFF2-40B4-BE49-F238E27FC236}">
                  <a16:creationId xmlns:a16="http://schemas.microsoft.com/office/drawing/2014/main" id="{75BFAE02-3B2C-4A39-9155-75D9A9FFE7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177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Gerader Verbinder 305" hidden="1">
              <a:extLst>
                <a:ext uri="{FF2B5EF4-FFF2-40B4-BE49-F238E27FC236}">
                  <a16:creationId xmlns:a16="http://schemas.microsoft.com/office/drawing/2014/main" id="{0289F721-02E5-4CF1-A64E-16C6831DADE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359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Gerader Verbinder 306" hidden="1">
              <a:extLst>
                <a:ext uri="{FF2B5EF4-FFF2-40B4-BE49-F238E27FC236}">
                  <a16:creationId xmlns:a16="http://schemas.microsoft.com/office/drawing/2014/main" id="{736FBFC1-34C0-4556-A64E-7DF51C1740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Gerader Verbinder 307" hidden="1">
              <a:extLst>
                <a:ext uri="{FF2B5EF4-FFF2-40B4-BE49-F238E27FC236}">
                  <a16:creationId xmlns:a16="http://schemas.microsoft.com/office/drawing/2014/main" id="{1C325AB2-38AC-453D-9604-CB146C3C94E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3526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Gerader Verbinder 308" hidden="1">
              <a:extLst>
                <a:ext uri="{FF2B5EF4-FFF2-40B4-BE49-F238E27FC236}">
                  <a16:creationId xmlns:a16="http://schemas.microsoft.com/office/drawing/2014/main" id="{587F643B-B13E-475D-9FE5-8FE8E7C8EE8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Gerader Verbinder 309" hidden="1">
              <a:extLst>
                <a:ext uri="{FF2B5EF4-FFF2-40B4-BE49-F238E27FC236}">
                  <a16:creationId xmlns:a16="http://schemas.microsoft.com/office/drawing/2014/main" id="{9AE37838-5743-4653-95C0-DAD8239B1B4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692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Gerader Verbinder 310" hidden="1">
              <a:extLst>
                <a:ext uri="{FF2B5EF4-FFF2-40B4-BE49-F238E27FC236}">
                  <a16:creationId xmlns:a16="http://schemas.microsoft.com/office/drawing/2014/main" id="{1CE536AB-0C1C-4B56-8D71-56FDB1B95E4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Gerader Verbinder 311" hidden="1">
              <a:extLst>
                <a:ext uri="{FF2B5EF4-FFF2-40B4-BE49-F238E27FC236}">
                  <a16:creationId xmlns:a16="http://schemas.microsoft.com/office/drawing/2014/main" id="{5D9691B6-E5DE-4C10-A8BE-3D4FB5259B6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859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Gerader Verbinder 312" hidden="1">
              <a:extLst>
                <a:ext uri="{FF2B5EF4-FFF2-40B4-BE49-F238E27FC236}">
                  <a16:creationId xmlns:a16="http://schemas.microsoft.com/office/drawing/2014/main" id="{9937DABA-6870-47B5-ACA2-6AE07F6B11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6442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8" name="Deco line top">
            <a:extLst>
              <a:ext uri="{FF2B5EF4-FFF2-40B4-BE49-F238E27FC236}">
                <a16:creationId xmlns:a16="http://schemas.microsoft.com/office/drawing/2014/main" id="{D53D8F20-7699-4E47-A42E-13FD9B3AA4C4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2" cy="972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1" name="Datumsplatzhalter">
            <a:extLst>
              <a:ext uri="{FF2B5EF4-FFF2-40B4-BE49-F238E27FC236}">
                <a16:creationId xmlns:a16="http://schemas.microsoft.com/office/drawing/2014/main" id="{FAFDE583-8891-45F2-B45F-05272564F6E8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ln>
                  <a:noFill/>
                </a:ln>
                <a:noFill/>
              </a:defRPr>
            </a:lvl1pPr>
          </a:lstStyle>
          <a:p>
            <a:endParaRPr lang="de-DE"/>
          </a:p>
        </p:txBody>
      </p:sp>
      <p:sp>
        <p:nvSpPr>
          <p:cNvPr id="342" name="Fußzeilenplatzhalter">
            <a:extLst>
              <a:ext uri="{FF2B5EF4-FFF2-40B4-BE49-F238E27FC236}">
                <a16:creationId xmlns:a16="http://schemas.microsoft.com/office/drawing/2014/main" id="{7FE33B54-66C1-45ED-9643-62D6F31238B0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ln>
                  <a:noFill/>
                </a:ln>
                <a:noFill/>
              </a:defRPr>
            </a:lvl1pPr>
          </a:lstStyle>
          <a:p>
            <a:endParaRPr lang="de-DE"/>
          </a:p>
        </p:txBody>
      </p:sp>
      <p:sp>
        <p:nvSpPr>
          <p:cNvPr id="343" name="Foliennummernplatzhalter">
            <a:extLst>
              <a:ext uri="{FF2B5EF4-FFF2-40B4-BE49-F238E27FC236}">
                <a16:creationId xmlns:a16="http://schemas.microsoft.com/office/drawing/2014/main" id="{CF4DA6C9-B759-461A-BD5C-BF5ADB65042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 baseline="0">
                <a:ln>
                  <a:noFill/>
                </a:ln>
                <a:noFill/>
              </a:defRPr>
            </a:lvl1pPr>
          </a:lstStyle>
          <a:p>
            <a:fld id="{895CC360-39D1-4D3A-B6C9-5AECCFD4809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Master title">
            <a:extLst>
              <a:ext uri="{FF2B5EF4-FFF2-40B4-BE49-F238E27FC236}">
                <a16:creationId xmlns:a16="http://schemas.microsoft.com/office/drawing/2014/main" id="{9DFAF140-256F-4C34-9FA7-1D6D01D8B7FA}"/>
              </a:ext>
            </a:extLst>
          </p:cNvPr>
          <p:cNvSpPr>
            <a:spLocks noGrp="1"/>
          </p:cNvSpPr>
          <p:nvPr userDrawn="1">
            <p:ph type="title"/>
            <p:custDataLst>
              <p:tags r:id="rId34"/>
            </p:custDataLst>
          </p:nvPr>
        </p:nvSpPr>
        <p:spPr>
          <a:xfrm>
            <a:off x="458400" y="318601"/>
            <a:ext cx="11275200" cy="58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endParaRPr lang="de-DE"/>
          </a:p>
        </p:txBody>
      </p:sp>
      <p:sp>
        <p:nvSpPr>
          <p:cNvPr id="400" name="Textplaceholder">
            <a:extLst>
              <a:ext uri="{FF2B5EF4-FFF2-40B4-BE49-F238E27FC236}">
                <a16:creationId xmlns:a16="http://schemas.microsoft.com/office/drawing/2014/main" id="{0C2F4944-B85E-4531-92A5-10D669A4E88B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5"/>
            </p:custDataLst>
          </p:nvPr>
        </p:nvSpPr>
        <p:spPr>
          <a:xfrm>
            <a:off x="458400" y="1387800"/>
            <a:ext cx="11275200" cy="5054400"/>
          </a:xfrm>
          <a:prstGeom prst="rect">
            <a:avLst/>
          </a:prstGeom>
        </p:spPr>
        <p:txBody>
          <a:bodyPr vert="horz" lIns="0" tIns="97200" rIns="0" bIns="9720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Text 6</a:t>
            </a:r>
          </a:p>
          <a:p>
            <a:pPr lvl="6"/>
            <a:r>
              <a:rPr lang="de-DE"/>
              <a:t>Text 7</a:t>
            </a:r>
          </a:p>
          <a:p>
            <a:pPr lvl="7"/>
            <a:r>
              <a:rPr lang="de-DE"/>
              <a:t>Text 8</a:t>
            </a:r>
          </a:p>
          <a:p>
            <a:pPr lvl="8"/>
            <a:r>
              <a:rPr lang="de-DE"/>
              <a:t>Text 9</a:t>
            </a: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6D44CE6F-4A4E-4FB8-A747-629300FE1774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486000"/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9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6" r:id="rId2"/>
    <p:sldLayoutId id="2147483925" r:id="rId3"/>
    <p:sldLayoutId id="2147483928" r:id="rId4"/>
    <p:sldLayoutId id="2147483927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55" r:id="rId17"/>
    <p:sldLayoutId id="2147483940" r:id="rId18"/>
    <p:sldLayoutId id="2147483941" r:id="rId19"/>
  </p:sldLayoutIdLst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p15="http://schemas.microsoft.com/office/powerpoint/2012/main"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3600" b="0" i="0" kern="1200" spc="-1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86000" rtl="0" eaLnBrk="1" latinLnBrk="0" hangingPunct="1">
        <a:lnSpc>
          <a:spcPct val="120000"/>
        </a:lnSpc>
        <a:spcBef>
          <a:spcPts val="765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accent1"/>
        </a:buClr>
        <a:buFont typeface="Wingdings" panose="05000000000000000000" pitchFamily="2" charset="2"/>
        <a:buChar char="§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Symbol" panose="05050102010706020507" pitchFamily="18" charset="2"/>
        <a:buChar char="-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486000" rtl="0" eaLnBrk="1" latinLnBrk="0" hangingPunct="1">
        <a:lnSpc>
          <a:spcPct val="100000"/>
        </a:lnSpc>
        <a:spcBef>
          <a:spcPts val="0"/>
        </a:spcBef>
        <a:buFontTx/>
        <a:buNone/>
        <a:defRPr lang="en-US" sz="11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42900" indent="-3429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583200" indent="-291600" algn="l" defTabSz="486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 typeface="+mj-lt"/>
        <a:buAutoNum type="alphaLcPeriod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Blip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</a:buBlip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Wingdings" panose="05000000000000000000" pitchFamily="2" charset="2"/>
        <a:buChar char="û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T">
            <a:extLst>
              <a:ext uri="{FF2B5EF4-FFF2-40B4-BE49-F238E27FC236}">
                <a16:creationId xmlns:a16="http://schemas.microsoft.com/office/drawing/2014/main" id="{10CD6B2C-3C86-4020-BE7D-FF8461E22886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522" b="8522"/>
          <a:stretch/>
        </p:blipFill>
        <p:spPr>
          <a:xfrm>
            <a:off x="326" y="97200"/>
            <a:ext cx="12191347" cy="6760800"/>
          </a:xfrm>
          <a:solidFill>
            <a:schemeClr val="accent1"/>
          </a:solidFill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736F18A-8DF7-4C1C-BE4F-F0923F0DA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eues</a:t>
            </a:r>
            <a:r>
              <a:rPr lang="en-US" dirty="0"/>
              <a:t> in .NET 6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CB71481-59F5-44D3-9C3B-EB81A50368C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936236-6289-449E-962E-6FC4BD945E99}"/>
              </a:ext>
            </a:extLst>
          </p:cNvPr>
          <p:cNvSpPr/>
          <p:nvPr/>
        </p:nvSpPr>
        <p:spPr>
          <a:xfrm>
            <a:off x="2468" y="0"/>
            <a:ext cx="12252684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46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AD33D-B849-4E9B-BCC4-988FE3E52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 Genera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95553-E2E2-4E2F-B34F-6FC86B3F406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2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en-US" dirty="0" err="1"/>
              <a:t>We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langsamer</a:t>
            </a:r>
            <a:r>
              <a:rPr lang="en-US" dirty="0"/>
              <a:t> Reflection, her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generiertem</a:t>
            </a:r>
            <a:r>
              <a:rPr lang="en-US" dirty="0"/>
              <a:t> Code</a:t>
            </a:r>
          </a:p>
          <a:p>
            <a:pPr marL="285750" indent="-285750"/>
            <a:r>
              <a:rPr lang="en-US" dirty="0"/>
              <a:t>Boilerplate Code </a:t>
            </a:r>
            <a:r>
              <a:rPr lang="en-US" dirty="0" err="1"/>
              <a:t>generieren</a:t>
            </a:r>
            <a:r>
              <a:rPr lang="en-US" dirty="0"/>
              <a:t> </a:t>
            </a:r>
            <a:r>
              <a:rPr lang="en-US" dirty="0" err="1"/>
              <a:t>lassen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selber</a:t>
            </a:r>
            <a:r>
              <a:rPr lang="en-US" dirty="0"/>
              <a:t> </a:t>
            </a:r>
            <a:r>
              <a:rPr lang="en-US" dirty="0" err="1"/>
              <a:t>schreiben</a:t>
            </a:r>
            <a:endParaRPr lang="en-US" dirty="0"/>
          </a:p>
          <a:p>
            <a:pPr>
              <a:buNone/>
            </a:pPr>
            <a:r>
              <a:rPr lang="en-US" dirty="0" err="1"/>
              <a:t>Verwendung</a:t>
            </a:r>
            <a:r>
              <a:rPr lang="en-US" dirty="0"/>
              <a:t> in .NET6:</a:t>
            </a:r>
          </a:p>
          <a:p>
            <a:pPr marL="577350" lvl="1" indent="-285750"/>
            <a:r>
              <a:rPr lang="en-US" dirty="0" err="1"/>
              <a:t>System.Text.Json</a:t>
            </a:r>
            <a:endParaRPr lang="en-US" dirty="0"/>
          </a:p>
          <a:p>
            <a:pPr marL="868950" lvl="2" indent="-285750"/>
            <a:r>
              <a:rPr lang="en-US" dirty="0" err="1"/>
              <a:t>Generiert</a:t>
            </a:r>
            <a:r>
              <a:rPr lang="en-US" dirty="0"/>
              <a:t> JSON </a:t>
            </a:r>
            <a:r>
              <a:rPr lang="en-US" dirty="0" err="1"/>
              <a:t>Metadat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Compile-Zeit</a:t>
            </a:r>
            <a:br>
              <a:rPr lang="en-US" dirty="0"/>
            </a:b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Laufzeit</a:t>
            </a:r>
            <a:endParaRPr lang="en-US" dirty="0"/>
          </a:p>
          <a:p>
            <a:pPr marL="868950" lvl="2" indent="-285750"/>
            <a:r>
              <a:rPr lang="en-US" dirty="0"/>
              <a:t>Schneller, </a:t>
            </a:r>
            <a:r>
              <a:rPr lang="en-US" dirty="0" err="1"/>
              <a:t>schnellerer</a:t>
            </a:r>
            <a:r>
              <a:rPr lang="en-US" dirty="0"/>
              <a:t> App Start und </a:t>
            </a:r>
            <a:r>
              <a:rPr lang="en-US" dirty="0" err="1"/>
              <a:t>weniger</a:t>
            </a:r>
            <a:r>
              <a:rPr lang="en-US" dirty="0"/>
              <a:t> </a:t>
            </a:r>
            <a:r>
              <a:rPr lang="en-US" dirty="0" err="1"/>
              <a:t>Allocs</a:t>
            </a:r>
            <a:endParaRPr lang="en-US" dirty="0"/>
          </a:p>
          <a:p>
            <a:pPr marL="577350" lvl="1" indent="-285750"/>
            <a:r>
              <a:rPr lang="en-US" dirty="0" err="1"/>
              <a:t>LoggerMessageAttribute</a:t>
            </a:r>
            <a:endParaRPr lang="en-US" dirty="0"/>
          </a:p>
          <a:p>
            <a:pPr marL="868950" lvl="2" indent="-285750"/>
            <a:r>
              <a:rPr lang="en-US" dirty="0" err="1"/>
              <a:t>Generiert</a:t>
            </a:r>
            <a:r>
              <a:rPr lang="en-US" dirty="0"/>
              <a:t> Code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performante</a:t>
            </a:r>
            <a:br>
              <a:rPr lang="en-US" dirty="0"/>
            </a:br>
            <a:r>
              <a:rPr lang="en-US" dirty="0"/>
              <a:t>Logging Calls (</a:t>
            </a:r>
            <a:r>
              <a:rPr lang="en-US" dirty="0" err="1"/>
              <a:t>ersetzt</a:t>
            </a:r>
            <a:r>
              <a:rPr lang="en-US" dirty="0"/>
              <a:t> </a:t>
            </a:r>
            <a:r>
              <a:rPr lang="en-US" dirty="0" err="1"/>
              <a:t>LoggerMessage.Define</a:t>
            </a:r>
            <a:r>
              <a:rPr lang="en-US" dirty="0"/>
              <a:t>)</a:t>
            </a:r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AFF955C1-1EF5-4C75-B069-A4403607149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78" r="2097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959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307249-479D-486E-9363-8882A05A3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ossgen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55BC12-570B-4045-ACCA-7A19A5C5FE3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3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de-DE" dirty="0" err="1"/>
              <a:t>Ahead</a:t>
            </a:r>
            <a:r>
              <a:rPr lang="de-DE" dirty="0"/>
              <a:t>-</a:t>
            </a:r>
            <a:r>
              <a:rPr lang="de-DE" dirty="0" err="1"/>
              <a:t>of</a:t>
            </a:r>
            <a:r>
              <a:rPr lang="de-DE" dirty="0"/>
              <a:t>-Time Compiler für IL Code</a:t>
            </a:r>
          </a:p>
          <a:p>
            <a:pPr marL="285750" indent="-285750"/>
            <a:r>
              <a:rPr lang="de-DE" dirty="0"/>
              <a:t>Kompletter Re-Write von </a:t>
            </a:r>
            <a:r>
              <a:rPr lang="de-DE" dirty="0" err="1"/>
              <a:t>Crossgen</a:t>
            </a:r>
            <a:r>
              <a:rPr lang="de-DE" dirty="0"/>
              <a:t>(1), eigenständiger Compiler</a:t>
            </a:r>
          </a:p>
          <a:p>
            <a:pPr marL="285750" indent="-285750"/>
            <a:r>
              <a:rPr lang="de-DE" dirty="0"/>
              <a:t>Ready-</a:t>
            </a:r>
            <a:r>
              <a:rPr lang="de-DE" dirty="0" err="1"/>
              <a:t>To</a:t>
            </a:r>
            <a:r>
              <a:rPr lang="de-DE" dirty="0"/>
              <a:t>-Run Format</a:t>
            </a:r>
          </a:p>
          <a:p>
            <a:pPr marL="577350" lvl="1" indent="-285750"/>
            <a:r>
              <a:rPr lang="de-DE" dirty="0"/>
              <a:t>Schnellere Startup-Zeit</a:t>
            </a:r>
          </a:p>
          <a:p>
            <a:pPr marL="577350" lvl="1" indent="-285750"/>
            <a:r>
              <a:rPr lang="de-DE" dirty="0" err="1"/>
              <a:t>Trimming</a:t>
            </a:r>
            <a:r>
              <a:rPr lang="de-DE" dirty="0"/>
              <a:t> der Assembly</a:t>
            </a:r>
          </a:p>
          <a:p>
            <a:pPr marL="577350" lvl="1" indent="-285750"/>
            <a:r>
              <a:rPr lang="de-DE" dirty="0"/>
              <a:t>Ausgabe nur einer einzigen .exe</a:t>
            </a:r>
          </a:p>
          <a:p>
            <a:pPr marL="577350" lvl="1" indent="-285750"/>
            <a:r>
              <a:rPr lang="de-DE" dirty="0"/>
              <a:t>NET Framework mit in .exe verpacken</a:t>
            </a:r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4884FB02-DA74-4882-97B6-15D79B0E26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5" b="417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8949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4924077-DDF1-4107-B29B-72F7E7129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ole LINQ Methoden!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A3EEE5A-3972-4DD5-9A21-66B63DC9B1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3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de-DE" dirty="0" err="1"/>
              <a:t>TryGetNonEnumeratedCount</a:t>
            </a:r>
            <a:r>
              <a:rPr lang="de-DE" dirty="0"/>
              <a:t>()</a:t>
            </a:r>
          </a:p>
          <a:p>
            <a:pPr marL="285750" indent="-285750"/>
            <a:r>
              <a:rPr lang="de-DE" dirty="0" err="1"/>
              <a:t>DistinctBy</a:t>
            </a:r>
            <a:r>
              <a:rPr lang="de-DE" dirty="0"/>
              <a:t>(), </a:t>
            </a:r>
            <a:r>
              <a:rPr lang="de-DE" dirty="0" err="1"/>
              <a:t>MaxBy</a:t>
            </a:r>
            <a:r>
              <a:rPr lang="de-DE" dirty="0"/>
              <a:t>(), </a:t>
            </a:r>
            <a:r>
              <a:rPr lang="de-DE" dirty="0" err="1"/>
              <a:t>MinBy</a:t>
            </a:r>
            <a:r>
              <a:rPr lang="de-DE" dirty="0"/>
              <a:t>(), </a:t>
            </a:r>
            <a:r>
              <a:rPr lang="de-DE" dirty="0" err="1"/>
              <a:t>UnionBy</a:t>
            </a:r>
            <a:r>
              <a:rPr lang="de-DE" dirty="0"/>
              <a:t>(), </a:t>
            </a:r>
            <a:r>
              <a:rPr lang="de-DE" dirty="0" err="1"/>
              <a:t>IntersectBy</a:t>
            </a:r>
            <a:r>
              <a:rPr lang="de-DE" dirty="0"/>
              <a:t>() usw.</a:t>
            </a:r>
          </a:p>
          <a:p>
            <a:pPr marL="285750" indent="-285750"/>
            <a:r>
              <a:rPr lang="de-DE" dirty="0"/>
              <a:t>Chunk()</a:t>
            </a:r>
          </a:p>
          <a:p>
            <a:pPr marL="285750" indent="-285750"/>
            <a:r>
              <a:rPr lang="de-DE" dirty="0"/>
              <a:t>…</a:t>
            </a:r>
            <a:r>
              <a:rPr lang="de-DE" dirty="0" err="1"/>
              <a:t>OrDefault</a:t>
            </a:r>
            <a:r>
              <a:rPr lang="de-DE" dirty="0"/>
              <a:t>() mit Default Wert</a:t>
            </a:r>
          </a:p>
          <a:p>
            <a:pPr marL="285750" indent="-285750"/>
            <a:r>
              <a:rPr lang="de-DE" dirty="0"/>
              <a:t>Zip()</a:t>
            </a:r>
          </a:p>
          <a:p>
            <a:pPr>
              <a:buNone/>
            </a:pPr>
            <a:endParaRPr lang="de-DE" dirty="0"/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D24B0799-DCC5-4FE5-878A-6EFEC47262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01" r="20901"/>
          <a:stretch>
            <a:fillRect/>
          </a:stretch>
        </p:blipFill>
        <p:spPr>
          <a:xfrm flipH="1">
            <a:off x="6290400" y="97201"/>
            <a:ext cx="5901600" cy="6760799"/>
          </a:xfrm>
        </p:spPr>
      </p:pic>
    </p:spTree>
    <p:extLst>
      <p:ext uri="{BB962C8B-B14F-4D97-AF65-F5344CB8AC3E}">
        <p14:creationId xmlns:p14="http://schemas.microsoft.com/office/powerpoint/2010/main" val="9800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5BA454-DD07-4F6A-9E94-D3A4EDADB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ute, morgen, gestern…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A3EC920-27CA-40BF-B3AB-1CA5209A31C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3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de-DE" dirty="0" err="1"/>
              <a:t>DateOnly</a:t>
            </a:r>
            <a:endParaRPr lang="de-DE" dirty="0"/>
          </a:p>
          <a:p>
            <a:pPr marL="285750" indent="-285750"/>
            <a:r>
              <a:rPr lang="de-DE" dirty="0" err="1"/>
              <a:t>TimeOnly</a:t>
            </a:r>
            <a:endParaRPr lang="de-DE" dirty="0"/>
          </a:p>
          <a:p>
            <a:pPr marL="285750" indent="-285750"/>
            <a:r>
              <a:rPr lang="de-DE" dirty="0"/>
              <a:t>Performance-Verbesserungen</a:t>
            </a:r>
            <a:br>
              <a:rPr lang="de-DE" dirty="0"/>
            </a:br>
            <a:r>
              <a:rPr lang="de-DE" dirty="0"/>
              <a:t>für </a:t>
            </a:r>
            <a:r>
              <a:rPr lang="de-DE" dirty="0" err="1"/>
              <a:t>DateTime.Now</a:t>
            </a:r>
            <a:r>
              <a:rPr lang="de-DE" dirty="0"/>
              <a:t> &amp; .</a:t>
            </a:r>
            <a:r>
              <a:rPr lang="de-DE" dirty="0" err="1"/>
              <a:t>UtcNow</a:t>
            </a:r>
            <a:endParaRPr lang="de-DE" dirty="0"/>
          </a:p>
          <a:p>
            <a:pPr marL="285750" indent="-285750"/>
            <a:endParaRPr lang="de-DE" dirty="0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391D77D1-9988-4C61-BB20-16AC4C7D8AE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91" b="6991"/>
          <a:stretch>
            <a:fillRect/>
          </a:stretch>
        </p:blipFill>
        <p:spPr/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5542D1-5D06-4811-9A05-B826DD227D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792" y="3514471"/>
            <a:ext cx="4791744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9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0DF96-0E39-4C74-BF3A-114DE0853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leinigk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B8796B-C9C4-4DA4-BC16-ECA7E7B200F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3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de-DE" dirty="0" err="1"/>
              <a:t>Sync-over-Async</a:t>
            </a:r>
            <a:r>
              <a:rPr lang="de-DE" dirty="0"/>
              <a:t> ist schneller</a:t>
            </a:r>
          </a:p>
          <a:p>
            <a:pPr marL="285750" indent="-285750"/>
            <a:r>
              <a:rPr lang="de-DE" dirty="0" err="1"/>
              <a:t>WaitAsync</a:t>
            </a:r>
            <a:r>
              <a:rPr lang="de-DE" dirty="0"/>
              <a:t> mit Timeout</a:t>
            </a:r>
          </a:p>
          <a:p>
            <a:pPr marL="285750" indent="-285750"/>
            <a:r>
              <a:rPr lang="de-DE" dirty="0" err="1"/>
              <a:t>ArgumentNullException.ThrowIfNull</a:t>
            </a:r>
            <a:r>
              <a:rPr lang="de-DE" dirty="0"/>
              <a:t>(arg)</a:t>
            </a:r>
          </a:p>
          <a:p>
            <a:pPr marL="285750" indent="-285750"/>
            <a:r>
              <a:rPr lang="de-DE" dirty="0" err="1"/>
              <a:t>Async</a:t>
            </a:r>
            <a:r>
              <a:rPr lang="de-DE" dirty="0"/>
              <a:t> </a:t>
            </a:r>
            <a:r>
              <a:rPr lang="de-DE" dirty="0" err="1"/>
              <a:t>Timer</a:t>
            </a:r>
            <a:endParaRPr lang="de-DE" dirty="0"/>
          </a:p>
          <a:p>
            <a:pPr marL="285750" indent="-285750"/>
            <a:r>
              <a:rPr lang="de-DE" dirty="0"/>
              <a:t>Asynchrones </a:t>
            </a:r>
            <a:r>
              <a:rPr lang="de-DE" dirty="0" err="1"/>
              <a:t>foreach</a:t>
            </a:r>
            <a:br>
              <a:rPr lang="de-DE" dirty="0"/>
            </a:br>
            <a:endParaRPr lang="de-DE" dirty="0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F2C8A8C7-350D-4E6B-8639-FBDF8AF027F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79" b="1307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9618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78CB136-B4BA-44B8-A042-B41336DB7DB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30" b="13030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EC1D9C1-BC0B-4DEC-B3D9-CDCDF2F1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Zuuuuukunf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140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F01433-8BD5-4E33-A405-E13F860C2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ic Abstracts in Interface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5833010-D83D-4DB7-96EA-D7432D5EEB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6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/>
            <a:r>
              <a:rPr lang="de-DE" dirty="0"/>
              <a:t>Interfaces dürfen Methoden enthalten die als </a:t>
            </a:r>
            <a:r>
              <a:rPr lang="de-DE" dirty="0" err="1">
                <a:latin typeface="Fira Code" panose="020B0809050000020004" pitchFamily="49" charset="0"/>
                <a:ea typeface="Fira Code" panose="020B0809050000020004" pitchFamily="49" charset="0"/>
              </a:rPr>
              <a:t>static</a:t>
            </a:r>
            <a:r>
              <a:rPr lang="de-DE" dirty="0">
                <a:latin typeface="Fira Code" panose="020B0809050000020004" pitchFamily="49" charset="0"/>
                <a:ea typeface="Fira Code" panose="020B0809050000020004" pitchFamily="49" charset="0"/>
              </a:rPr>
              <a:t> </a:t>
            </a:r>
            <a:r>
              <a:rPr lang="de-DE" dirty="0" err="1">
                <a:latin typeface="Fira Code" panose="020B0809050000020004" pitchFamily="49" charset="0"/>
                <a:ea typeface="Fira Code" panose="020B0809050000020004" pitchFamily="49" charset="0"/>
              </a:rPr>
              <a:t>abstract</a:t>
            </a:r>
            <a:r>
              <a:rPr lang="de-DE" dirty="0">
                <a:ea typeface="Fira Code" panose="020B0809050000020004" pitchFamily="49" charset="0"/>
              </a:rPr>
              <a:t> </a:t>
            </a:r>
            <a:r>
              <a:rPr lang="de-DE" dirty="0"/>
              <a:t>deklariert sind</a:t>
            </a:r>
          </a:p>
          <a:p>
            <a:pPr marL="285750" indent="-285750"/>
            <a:r>
              <a:rPr lang="de-DE" dirty="0"/>
              <a:t>Zwingt Klassen dazu diese Methoden auch </a:t>
            </a:r>
            <a:r>
              <a:rPr lang="de-DE" dirty="0" err="1"/>
              <a:t>static</a:t>
            </a:r>
            <a:r>
              <a:rPr lang="de-DE" dirty="0"/>
              <a:t> zu implementieren</a:t>
            </a:r>
          </a:p>
          <a:p>
            <a:pPr marL="285750" indent="-285750"/>
            <a:r>
              <a:rPr lang="de-DE" dirty="0"/>
              <a:t>Ok, und das heißt jetzt…?</a:t>
            </a:r>
          </a:p>
          <a:p>
            <a:pPr marL="285750" indent="-285750"/>
            <a:r>
              <a:rPr lang="de-DE" dirty="0"/>
              <a:t>Rechnen mit </a:t>
            </a:r>
            <a:r>
              <a:rPr lang="de-DE" dirty="0" err="1"/>
              <a:t>Generics</a:t>
            </a:r>
            <a:r>
              <a:rPr lang="de-DE" dirty="0"/>
              <a:t>!</a:t>
            </a:r>
          </a:p>
          <a:p>
            <a:pPr>
              <a:buNone/>
            </a:pPr>
            <a:endParaRPr lang="de-DE" dirty="0"/>
          </a:p>
          <a:p>
            <a:pPr>
              <a:buNone/>
            </a:pPr>
            <a:r>
              <a:rPr lang="de-DE" sz="3600" dirty="0"/>
              <a:t>Beispielzeit!</a:t>
            </a:r>
            <a:endParaRPr lang="de-DE" dirty="0"/>
          </a:p>
        </p:txBody>
      </p:sp>
      <p:grpSp>
        <p:nvGrpSpPr>
          <p:cNvPr id="4" name="Stamp MIO">
            <a:extLst>
              <a:ext uri="{FF2B5EF4-FFF2-40B4-BE49-F238E27FC236}">
                <a16:creationId xmlns:a16="http://schemas.microsoft.com/office/drawing/2014/main" id="{D073525B-FAB3-4F83-B48B-49C21650294E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 rot="1876291">
            <a:off x="6058592" y="446051"/>
            <a:ext cx="1687963" cy="328295"/>
            <a:chOff x="10045250" y="989305"/>
            <a:chExt cx="1687963" cy="328295"/>
          </a:xfrm>
        </p:grpSpPr>
        <p:sp>
          <p:nvSpPr>
            <p:cNvPr id="6" name="VctStamp_ID_457803">
              <a:extLst>
                <a:ext uri="{FF2B5EF4-FFF2-40B4-BE49-F238E27FC236}">
                  <a16:creationId xmlns:a16="http://schemas.microsoft.com/office/drawing/2014/main" id="{EAFC53B5-78DF-4B27-BD5D-816AED1A1703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0045250" y="989305"/>
              <a:ext cx="1687963" cy="3282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5400" rIns="0" bIns="2540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i="0" u="none" strike="noStrike" kern="0" cap="all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.NET 7 PREVIEW</a:t>
              </a:r>
              <a:endParaRPr kumimoji="0" lang="de-DE" i="0" u="none" strike="noStrike" kern="0" cap="all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bold" panose="020B0702040204020203" pitchFamily="34" charset="0"/>
              </a:endParaRPr>
            </a:p>
          </p:txBody>
        </p:sp>
        <p:cxnSp>
          <p:nvCxnSpPr>
            <p:cNvPr id="7" name="VctTopStpCtr_ID_457804">
              <a:extLst>
                <a:ext uri="{FF2B5EF4-FFF2-40B4-BE49-F238E27FC236}">
                  <a16:creationId xmlns:a16="http://schemas.microsoft.com/office/drawing/2014/main" id="{C894F121-60B9-40F0-AE99-C1928F677CA7}"/>
                </a:ext>
              </a:extLst>
            </p:cNvPr>
            <p:cNvCxnSpPr>
              <a:cxnSpLocks noChangeShapeType="1"/>
              <a:stCxn id="6" idx="2"/>
              <a:endCxn id="6" idx="0"/>
            </p:cNvCxnSpPr>
            <p:nvPr>
              <p:custDataLst>
                <p:tags r:id="rId3"/>
              </p:custDataLst>
            </p:nvPr>
          </p:nvCxnSpPr>
          <p:spPr bwMode="gray">
            <a:xfrm>
              <a:off x="10045250" y="989305"/>
              <a:ext cx="1687963" cy="0"/>
            </a:xfrm>
            <a:prstGeom prst="straightConnector1">
              <a:avLst/>
            </a:prstGeom>
            <a:noFill/>
            <a:ln w="317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VctBtmStpCtr_ID_457805">
              <a:extLst>
                <a:ext uri="{FF2B5EF4-FFF2-40B4-BE49-F238E27FC236}">
                  <a16:creationId xmlns:a16="http://schemas.microsoft.com/office/drawing/2014/main" id="{FD18A02B-7AEA-41A5-84E3-1481560DFE80}"/>
                </a:ext>
              </a:extLst>
            </p:cNvPr>
            <p:cNvCxnSpPr>
              <a:cxnSpLocks noChangeShapeType="1"/>
              <a:stCxn id="6" idx="4"/>
              <a:endCxn id="6" idx="6"/>
            </p:cNvCxnSpPr>
            <p:nvPr>
              <p:custDataLst>
                <p:tags r:id="rId4"/>
              </p:custDataLst>
            </p:nvPr>
          </p:nvCxnSpPr>
          <p:spPr bwMode="gray">
            <a:xfrm>
              <a:off x="10045250" y="1317600"/>
              <a:ext cx="1687963" cy="0"/>
            </a:xfrm>
            <a:prstGeom prst="straightConnector1">
              <a:avLst/>
            </a:prstGeom>
            <a:noFill/>
            <a:ln w="317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8752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496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THINKCELLUNDODONOTDELETE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/////wQAJwwAAAAAAAAAAAAAIAD///////////////8AAAD////////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zWRVnpV6RDnTL5TLdYPbUFAAAAAAADAAAAAwADAAAAAQADAAAAAwD///////8DAAMA////////BAAAAAMAEAAL+vtfBxQdTk6NbuG4kAmsPgUAAAABAAMAAAAAAAMAAAAC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zWRVnpV6RDnTL5TLdYPbUDRGF0YQAbAAAABExpbmtlZFNoYXBlRGF0YQAFAAAAAAACTmFtZQAZAAAATGlua2VkU2hhcGVzRGF0YVByb3BlcnR5ABBWZXJzaW9uAAAAAAAJTGFzdFdyaXRlACAnFFJ6AQAAAAEA/////8YAxgAAAAVfaWQAEAAAAAT6+18HFB1OTo1u4biQCaw+A0RhdGEAUwAAAAhQcmVzZW50YXRpb25TY2FubmVkRm9yTGlua2VkU2hhcGVzAAECTnVtYmVyRm9ybWF0U2VwYXJhdG9yTW9kZQAKAAAAQXV0b21hdGljAAACTmFtZQAkAAAATGlua2VkU2hhcGVQcmVzZW50YXRpb25TZXR0aW5nc0RhdGEAEFZlcnNpb24AAAAAAAlMYXN0V3JpdGUAPycUUn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itenzahl anzeigen;"/>
  <p:tag name="MIO_USER_INPUT_LANGUAGE" val="de-DE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s;"/>
  <p:tag name="MIO_USER_INPUT_LANGUAGE" val="en-US"/>
  <p:tag name="MIO_USER_INPUT_OPTIONAL" val=" "/>
  <p:tag name="MIO_USER_INPUT_FIXED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s;"/>
  <p:tag name="MIO_USER_INPUT_LANGUAGE" val="en-US"/>
  <p:tag name="MIO_USER_INPUT_OPTIONAL" val=" "/>
  <p:tag name="MIO_USER_INPUT_FIXED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Zusätzliche Hilfslinien;"/>
  <p:tag name="MIO_USER_INPUT_LANGUAGE" val="de-DE"/>
  <p:tag name="MIO_USER_INPUT_OPTIONAL" val=" "/>
  <p:tag name="MIO_USER_INPUT_FIXED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Zusätzliche Hilfslinien;"/>
  <p:tag name="MIO_USER_INPUT_LANGUAGE" val="de-DE"/>
  <p:tag name="MIO_USER_INPUT_OPTIONAL" val=" "/>
  <p:tag name="MIO_USER_INPUT_FIXED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4"/>
  <p:tag name="MIO_SHOW_DATE" val="False"/>
  <p:tag name="MIO_SHOW_FOOTER" val="False"/>
  <p:tag name="MIO_SHOW_PAGENUMBER" val="False"/>
  <p:tag name="MIO_AVOID_BLANK_LAYOUT" val="True"/>
  <p:tag name="MIO_CD_LAYOUT_VALID_AREA" val="True"/>
  <p:tag name="MIO_NUMBER_OF_VALID_LAYOUTS" val="19"/>
  <p:tag name="MIO_HDS" val="True"/>
  <p:tag name="MIO_SKIPVERSION" val="01.01.0001 00:00:00"/>
  <p:tag name="MIO_EKGUID" val="eec04416-020b-4147-8328-682d7cf4fd01"/>
  <p:tag name="MIO_UPDATE" val="True"/>
  <p:tag name="MIO_VERSION" val="19.05.2020 10:44:59"/>
  <p:tag name="MIO_DBID" val="0F45B44C-9BC7-4D85-81C4-7155EE70A7B9"/>
  <p:tag name="MIO_LASTDOWNLOADED" val="28.06.2021 12:04:50.396"/>
  <p:tag name="MIO_OBJECTNAME" val="empower"/>
  <p:tag name="MIO_LASTEDITORNAME" val="info "/>
  <p:tag name="MIO_CDID" val="d30371fb-bd2b-4816-a0ce-bd6a1479ab6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ity;"/>
  <p:tag name="MIO_USER_INPUT_LANGUAGE" val="en-US"/>
  <p:tag name="MIO_USER_INPUT_OPTIONAL" val=" "/>
  <p:tag name="MIO_USER_INPUT_OPTIONS" val=";FOR INTERNAL USE ONLY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Vertraulichkeit;"/>
  <p:tag name="MIO_USER_INPUT_LANGUAGE" val="de-DE"/>
  <p:tag name="MIO_USER_INPUT_OPTIONAL" val=" "/>
  <p:tag name="MIO_USER_INPUT_OPTIONS" val=";NUR ZUR INTERNEN VERWENDUNG;STRENG VERTRAULIC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ity;"/>
  <p:tag name="MIO_USER_INPUT_LANGUAGE" val="en-US"/>
  <p:tag name="MIO_USER_INPUT_OPTIONAL" val=" "/>
  <p:tag name="MIO_USER_INPUT_OPTIONS" val=";FOR INTERNAL USE ONLY;STRICTLY CONFIDENTI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Vertraulichkeit;"/>
  <p:tag name="MIO_USER_INPUT_LANGUAGE" val="de-DE"/>
  <p:tag name="MIO_USER_INPUT_OPTIONAL" val=" "/>
  <p:tag name="MIO_USER_INPUT_OPTIONS" val=";NUR ZUR INTERNEN VERWENDUNG;STRENG VERTRAULICH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954ba5-5917-420f-88a8-3b6b244529f3"/>
  <p:tag name="MIO_GUID" val="7f48b82a-ae84-4ee2-bbac-61ae92c55801"/>
  <p:tag name="MIO_UPDATE" val="True"/>
  <p:tag name="MIO_VERSION" val="04.06.2020 10:39:38"/>
  <p:tag name="MIO_DBID" val="0F45B44C-9BC7-4D85-81C4-7155EE70A7B9"/>
  <p:tag name="MIO_LASTDOWNLOADED" val="16.06.2020 23:02:08"/>
  <p:tag name="MIO_OBJECTNAME" val="IT"/>
  <p:tag name="MIO_LASTEDITORNAME" val="Stephan Kuhner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b4149ff-643a-4073-8122-c215a6b63512"/>
  <p:tag name="MIO_SKIP_CDCHECK" val="True"/>
  <p:tag name="MIO_STAMP" val="MIO_STAMP"/>
  <p:tag name="MIO_EKGUID" val="afe27a8c-4d81-4b33-8b03-1bc8c4bbad27"/>
  <p:tag name="MIO_UPDATE" val="True"/>
  <p:tag name="MIO_VERSION" val="07.05.2020 10:04:38"/>
  <p:tag name="MIO_DBID" val="0F45B44C-9BC7-4D85-81C4-7155EE70A7B9"/>
  <p:tag name="MIO_LASTDOWNLOADED" val="22.09.2021 22:43:18.058"/>
  <p:tag name="MIO_OBJECTNAME" val="Stamp MIO"/>
  <p:tag name="MIO_LASTEDITORNAME" val="Sinja Gie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579"/>
  <p:tag name="MIO_STAMP_TEXT" val="MIO_STAMP_TEXT"/>
  <p:tag name="MIO_GUID" val="e34ade82-d124-4c04-a079-2affc02bd1b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579"/>
  <p:tag name="MIO_GUID" val="bdaf380e-726e-413b-9c47-1e1fd209c5a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Watermark;"/>
  <p:tag name="MIO_USER_INPUT_LANGUAGE" val="en-US"/>
  <p:tag name="MIO_USER_INPUT_OPTIONAL" val=" 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579"/>
  <p:tag name="MIO_GUID" val="d85f5290-6388-4ee3-b146-d6b912bce23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Wasserzeichen;"/>
  <p:tag name="MIO_USER_INPUT_LANGUAGE" val="de-DE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abel;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lide Number;"/>
  <p:tag name="MIO_USER_INPUT_LANGUAGE" val="en-US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lide Number;"/>
  <p:tag name="MIO_USER_INPUT_LANGUAGE" val="en-US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itenzahl anzeigen;"/>
  <p:tag name="MIO_USER_INPUT_LANGUAGE" val="de-DE"/>
  <p:tag name="MIO_USER_INPUT_OPTIONAL" val=" "/>
  <p:tag name="MIO_USER_INPUT_TEXT" val=" "/>
</p:tagLst>
</file>

<file path=ppt/theme/theme1.xml><?xml version="1.0" encoding="utf-8"?>
<a:theme xmlns:a="http://schemas.openxmlformats.org/drawingml/2006/main" name="empower">
  <a:themeElements>
    <a:clrScheme name="empower(R) suite">
      <a:dk1>
        <a:sysClr val="windowText" lastClr="000000"/>
      </a:dk1>
      <a:lt1>
        <a:sysClr val="window" lastClr="FFFFFF"/>
      </a:lt1>
      <a:dk2>
        <a:srgbClr val="202020"/>
      </a:dk2>
      <a:lt2>
        <a:srgbClr val="F1F1F1"/>
      </a:lt2>
      <a:accent1>
        <a:srgbClr val="123F6E"/>
      </a:accent1>
      <a:accent2>
        <a:srgbClr val="859BB3"/>
      </a:accent2>
      <a:accent3>
        <a:srgbClr val="BECAD5"/>
      </a:accent3>
      <a:accent4>
        <a:srgbClr val="606060"/>
      </a:accent4>
      <a:accent5>
        <a:srgbClr val="A0A0A0"/>
      </a:accent5>
      <a:accent6>
        <a:srgbClr val="DEDEDE"/>
      </a:accent6>
      <a:hlink>
        <a:srgbClr val="123F6E"/>
      </a:hlink>
      <a:folHlink>
        <a:srgbClr val="123F6E"/>
      </a:folHlink>
    </a:clrScheme>
    <a:fontScheme name="empower® suite">
      <a:majorFont>
        <a:latin typeface="Segoe UI Semibold"/>
        <a:ea typeface="Segoe UI Semibold"/>
        <a:cs typeface="Segoe UI Semibold"/>
      </a:majorFont>
      <a:minorFont>
        <a:latin typeface="Segoe UI Light"/>
        <a:ea typeface="Segoe UI Light"/>
        <a:cs typeface="Segoe UI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666666"/>
              </a:solidFill>
              <a:prstDash val="solid"/>
            </a14:hiddenLine>
          </a:ext>
        </a:extLst>
      </a:spPr>
      <a:bodyPr lIns="97200" tIns="97200" rIns="97200" bIns="97200" rtlCol="0" anchor="ctr"/>
      <a:lstStyle>
        <a:defPPr algn="ctr" defTabSz="486000">
          <a:defRPr sz="16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02661C9F-9471-4050-A774-7E305C6C23D7}" vid="{6D5AB04B-5237-464C-8553-D705B2ABA326}"/>
    </a:ext>
  </a:extLst>
</a:theme>
</file>

<file path=ppt/theme/theme2.xml><?xml version="1.0" encoding="utf-8"?>
<a:theme xmlns:a="http://schemas.openxmlformats.org/drawingml/2006/main" name="Office Theme">
  <a:themeElements>
    <a:clrScheme name="empower">
      <a:dk1>
        <a:sysClr val="windowText" lastClr="000000"/>
      </a:dk1>
      <a:lt1>
        <a:sysClr val="window" lastClr="FFFFFF"/>
      </a:lt1>
      <a:dk2>
        <a:srgbClr val="123F6E"/>
      </a:dk2>
      <a:lt2>
        <a:srgbClr val="F1F1F1"/>
      </a:lt2>
      <a:accent1>
        <a:srgbClr val="123F6E"/>
      </a:accent1>
      <a:accent2>
        <a:srgbClr val="859BB3"/>
      </a:accent2>
      <a:accent3>
        <a:srgbClr val="BECAD5"/>
      </a:accent3>
      <a:accent4>
        <a:srgbClr val="333333"/>
      </a:accent4>
      <a:accent5>
        <a:srgbClr val="666666"/>
      </a:accent5>
      <a:accent6>
        <a:srgbClr val="F1F1F1"/>
      </a:accent6>
      <a:hlink>
        <a:srgbClr val="666666"/>
      </a:hlink>
      <a:folHlink>
        <a:srgbClr val="666666"/>
      </a:folHlink>
    </a:clrScheme>
    <a:fontScheme name="Custom 1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empower">
      <a:dk1>
        <a:sysClr val="windowText" lastClr="000000"/>
      </a:dk1>
      <a:lt1>
        <a:sysClr val="window" lastClr="FFFFFF"/>
      </a:lt1>
      <a:dk2>
        <a:srgbClr val="123F6E"/>
      </a:dk2>
      <a:lt2>
        <a:srgbClr val="F1F1F1"/>
      </a:lt2>
      <a:accent1>
        <a:srgbClr val="123F6E"/>
      </a:accent1>
      <a:accent2>
        <a:srgbClr val="859BB3"/>
      </a:accent2>
      <a:accent3>
        <a:srgbClr val="BECAD5"/>
      </a:accent3>
      <a:accent4>
        <a:srgbClr val="333333"/>
      </a:accent4>
      <a:accent5>
        <a:srgbClr val="666666"/>
      </a:accent5>
      <a:accent6>
        <a:srgbClr val="F1F1F1"/>
      </a:accent6>
      <a:hlink>
        <a:srgbClr val="666666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2A1E050-AABB-E04C-A53E-9B5AFAED284A}">
  <we:reference id="30ab5e52-4882-4d4b-aa5d-a8cdc8f5569c" version="1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5513DB3DD40134380892040BC2E6F65" ma:contentTypeVersion="9" ma:contentTypeDescription="Ein neues Dokument erstellen." ma:contentTypeScope="" ma:versionID="f3528c595dc877a0f2cf3b8c4ad529a5">
  <xsd:schema xmlns:xsd="http://www.w3.org/2001/XMLSchema" xmlns:xs="http://www.w3.org/2001/XMLSchema" xmlns:p="http://schemas.microsoft.com/office/2006/metadata/properties" xmlns:ns2="6dd123dd-e97f-4686-b2c1-d1f8bc1211c4" targetNamespace="http://schemas.microsoft.com/office/2006/metadata/properties" ma:root="true" ma:fieldsID="fb06f306d745535caf5ac97e40443b84" ns2:_="">
    <xsd:import namespace="6dd123dd-e97f-4686-b2c1-d1f8bc1211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123dd-e97f-4686-b2c1-d1f8bc1211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F8BECC-8B8C-4B9A-A0D9-653D3C0158F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3513CC-5CA3-4620-8D63-41DA2A5A7900}">
  <ds:schemaRefs>
    <ds:schemaRef ds:uri="6dd123dd-e97f-4686-b2c1-d1f8bc1211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81092B-9F4D-4824-9105-C266755A30CD}">
  <ds:schemaRefs>
    <ds:schemaRef ds:uri="6dd123dd-e97f-4686-b2c1-d1f8bc1211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04</Words>
  <Application>Microsoft Office PowerPoint</Application>
  <PresentationFormat>Widescreen</PresentationFormat>
  <Paragraphs>43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Fira Code</vt:lpstr>
      <vt:lpstr>Segoe UI Light</vt:lpstr>
      <vt:lpstr>Segoe UI Semibold</vt:lpstr>
      <vt:lpstr>Symbol</vt:lpstr>
      <vt:lpstr>Wingdings</vt:lpstr>
      <vt:lpstr>empower</vt:lpstr>
      <vt:lpstr>Neues in .NET 6</vt:lpstr>
      <vt:lpstr>Source Generators</vt:lpstr>
      <vt:lpstr>Crossgen2</vt:lpstr>
      <vt:lpstr>Coole LINQ Methoden!</vt:lpstr>
      <vt:lpstr>Heute, morgen, gestern…</vt:lpstr>
      <vt:lpstr>Kleinigkeiten</vt:lpstr>
      <vt:lpstr>Die Zuuuuukunft</vt:lpstr>
      <vt:lpstr>Static Abstracts in Interfa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ues in .NET 6</dc:title>
  <dc:creator>Marco Stambor</dc:creator>
  <cp:lastModifiedBy>Marco Stambor</cp:lastModifiedBy>
  <cp:revision>3</cp:revision>
  <dcterms:created xsi:type="dcterms:W3CDTF">2021-09-22T17:38:00Z</dcterms:created>
  <dcterms:modified xsi:type="dcterms:W3CDTF">2021-12-02T15:0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513DB3DD40134380892040BC2E6F65</vt:lpwstr>
  </property>
</Properties>
</file>